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5"/>
  </p:notesMasterIdLst>
  <p:sldIdLst>
    <p:sldId id="389" r:id="rId3"/>
    <p:sldId id="420" r:id="rId4"/>
    <p:sldId id="421" r:id="rId5"/>
    <p:sldId id="422" r:id="rId6"/>
    <p:sldId id="423" r:id="rId7"/>
    <p:sldId id="426" r:id="rId8"/>
    <p:sldId id="425" r:id="rId9"/>
    <p:sldId id="427" r:id="rId10"/>
    <p:sldId id="430" r:id="rId11"/>
    <p:sldId id="429" r:id="rId12"/>
    <p:sldId id="278" r:id="rId13"/>
    <p:sldId id="409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916D134-3C37-4140-9E51-EE242C413745}" v="75" dt="2023-06-13T01:40:00.80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3447" autoAdjust="0"/>
  </p:normalViewPr>
  <p:slideViewPr>
    <p:cSldViewPr snapToGrid="0">
      <p:cViewPr varScale="1">
        <p:scale>
          <a:sx n="94" d="100"/>
          <a:sy n="94" d="100"/>
        </p:scale>
        <p:origin x="114" y="9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microsoft.com/office/2015/10/relationships/revisionInfo" Target="revisionInfo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aleska Crowe" userId="3d8b9f63d04a443d" providerId="LiveId" clId="{6916D134-3C37-4140-9E51-EE242C413745}"/>
    <pc:docChg chg="undo redo custSel addSld delSld modSld sldOrd">
      <pc:chgData name="Waleska Crowe" userId="3d8b9f63d04a443d" providerId="LiveId" clId="{6916D134-3C37-4140-9E51-EE242C413745}" dt="2023-06-13T01:40:28.935" v="812" actId="20577"/>
      <pc:docMkLst>
        <pc:docMk/>
      </pc:docMkLst>
      <pc:sldChg chg="del">
        <pc:chgData name="Waleska Crowe" userId="3d8b9f63d04a443d" providerId="LiveId" clId="{6916D134-3C37-4140-9E51-EE242C413745}" dt="2023-06-13T01:30:42.118" v="736" actId="47"/>
        <pc:sldMkLst>
          <pc:docMk/>
          <pc:sldMk cId="224078486" sldId="256"/>
        </pc:sldMkLst>
      </pc:sldChg>
      <pc:sldChg chg="del">
        <pc:chgData name="Waleska Crowe" userId="3d8b9f63d04a443d" providerId="LiveId" clId="{6916D134-3C37-4140-9E51-EE242C413745}" dt="2023-06-13T00:48:09.508" v="277" actId="47"/>
        <pc:sldMkLst>
          <pc:docMk/>
          <pc:sldMk cId="86921194" sldId="257"/>
        </pc:sldMkLst>
      </pc:sldChg>
      <pc:sldChg chg="del">
        <pc:chgData name="Waleska Crowe" userId="3d8b9f63d04a443d" providerId="LiveId" clId="{6916D134-3C37-4140-9E51-EE242C413745}" dt="2023-06-13T00:48:11.083" v="278" actId="47"/>
        <pc:sldMkLst>
          <pc:docMk/>
          <pc:sldMk cId="754910119" sldId="258"/>
        </pc:sldMkLst>
      </pc:sldChg>
      <pc:sldChg chg="del">
        <pc:chgData name="Waleska Crowe" userId="3d8b9f63d04a443d" providerId="LiveId" clId="{6916D134-3C37-4140-9E51-EE242C413745}" dt="2023-06-13T01:15:52.522" v="554" actId="47"/>
        <pc:sldMkLst>
          <pc:docMk/>
          <pc:sldMk cId="3106391495" sldId="259"/>
        </pc:sldMkLst>
      </pc:sldChg>
      <pc:sldChg chg="del">
        <pc:chgData name="Waleska Crowe" userId="3d8b9f63d04a443d" providerId="LiveId" clId="{6916D134-3C37-4140-9E51-EE242C413745}" dt="2023-06-13T00:48:27.709" v="280" actId="47"/>
        <pc:sldMkLst>
          <pc:docMk/>
          <pc:sldMk cId="2273231280" sldId="260"/>
        </pc:sldMkLst>
      </pc:sldChg>
      <pc:sldChg chg="del">
        <pc:chgData name="Waleska Crowe" userId="3d8b9f63d04a443d" providerId="LiveId" clId="{6916D134-3C37-4140-9E51-EE242C413745}" dt="2023-06-13T00:47:56.875" v="276" actId="47"/>
        <pc:sldMkLst>
          <pc:docMk/>
          <pc:sldMk cId="3694936927" sldId="261"/>
        </pc:sldMkLst>
      </pc:sldChg>
      <pc:sldChg chg="del">
        <pc:chgData name="Waleska Crowe" userId="3d8b9f63d04a443d" providerId="LiveId" clId="{6916D134-3C37-4140-9E51-EE242C413745}" dt="2023-06-13T00:48:25.567" v="279" actId="47"/>
        <pc:sldMkLst>
          <pc:docMk/>
          <pc:sldMk cId="2895027516" sldId="262"/>
        </pc:sldMkLst>
      </pc:sldChg>
      <pc:sldChg chg="del ord">
        <pc:chgData name="Waleska Crowe" userId="3d8b9f63d04a443d" providerId="LiveId" clId="{6916D134-3C37-4140-9E51-EE242C413745}" dt="2023-06-13T01:06:51.895" v="400" actId="47"/>
        <pc:sldMkLst>
          <pc:docMk/>
          <pc:sldMk cId="3252102497" sldId="263"/>
        </pc:sldMkLst>
      </pc:sldChg>
      <pc:sldChg chg="modSp del mod ord">
        <pc:chgData name="Waleska Crowe" userId="3d8b9f63d04a443d" providerId="LiveId" clId="{6916D134-3C37-4140-9E51-EE242C413745}" dt="2023-06-13T01:26:24.403" v="688" actId="47"/>
        <pc:sldMkLst>
          <pc:docMk/>
          <pc:sldMk cId="1576311441" sldId="264"/>
        </pc:sldMkLst>
        <pc:spChg chg="mod">
          <ac:chgData name="Waleska Crowe" userId="3d8b9f63d04a443d" providerId="LiveId" clId="{6916D134-3C37-4140-9E51-EE242C413745}" dt="2023-06-13T01:02:31.536" v="350"/>
          <ac:spMkLst>
            <pc:docMk/>
            <pc:sldMk cId="1576311441" sldId="264"/>
            <ac:spMk id="3" creationId="{337F49BA-67C7-D3B5-BAA7-0093755867C2}"/>
          </ac:spMkLst>
        </pc:spChg>
      </pc:sldChg>
      <pc:sldChg chg="del">
        <pc:chgData name="Waleska Crowe" userId="3d8b9f63d04a443d" providerId="LiveId" clId="{6916D134-3C37-4140-9E51-EE242C413745}" dt="2023-06-13T01:02:33.832" v="351" actId="47"/>
        <pc:sldMkLst>
          <pc:docMk/>
          <pc:sldMk cId="2066336248" sldId="265"/>
        </pc:sldMkLst>
      </pc:sldChg>
      <pc:sldChg chg="del">
        <pc:chgData name="Waleska Crowe" userId="3d8b9f63d04a443d" providerId="LiveId" clId="{6916D134-3C37-4140-9E51-EE242C413745}" dt="2023-06-13T01:15:53.596" v="555" actId="47"/>
        <pc:sldMkLst>
          <pc:docMk/>
          <pc:sldMk cId="944488988" sldId="266"/>
        </pc:sldMkLst>
      </pc:sldChg>
      <pc:sldChg chg="del">
        <pc:chgData name="Waleska Crowe" userId="3d8b9f63d04a443d" providerId="LiveId" clId="{6916D134-3C37-4140-9E51-EE242C413745}" dt="2023-06-13T01:19:37.478" v="581" actId="47"/>
        <pc:sldMkLst>
          <pc:docMk/>
          <pc:sldMk cId="1878635715" sldId="267"/>
        </pc:sldMkLst>
      </pc:sldChg>
      <pc:sldChg chg="del ord">
        <pc:chgData name="Waleska Crowe" userId="3d8b9f63d04a443d" providerId="LiveId" clId="{6916D134-3C37-4140-9E51-EE242C413745}" dt="2023-06-13T01:06:55.325" v="401" actId="47"/>
        <pc:sldMkLst>
          <pc:docMk/>
          <pc:sldMk cId="624246976" sldId="268"/>
        </pc:sldMkLst>
      </pc:sldChg>
      <pc:sldChg chg="del">
        <pc:chgData name="Waleska Crowe" userId="3d8b9f63d04a443d" providerId="LiveId" clId="{6916D134-3C37-4140-9E51-EE242C413745}" dt="2023-06-13T00:48:46.482" v="284" actId="47"/>
        <pc:sldMkLst>
          <pc:docMk/>
          <pc:sldMk cId="1129638971" sldId="269"/>
        </pc:sldMkLst>
      </pc:sldChg>
      <pc:sldChg chg="del">
        <pc:chgData name="Waleska Crowe" userId="3d8b9f63d04a443d" providerId="LiveId" clId="{6916D134-3C37-4140-9E51-EE242C413745}" dt="2023-06-13T01:15:51.566" v="553" actId="47"/>
        <pc:sldMkLst>
          <pc:docMk/>
          <pc:sldMk cId="1096295866" sldId="270"/>
        </pc:sldMkLst>
      </pc:sldChg>
      <pc:sldChg chg="del">
        <pc:chgData name="Waleska Crowe" userId="3d8b9f63d04a443d" providerId="LiveId" clId="{6916D134-3C37-4140-9E51-EE242C413745}" dt="2023-06-13T00:48:35.079" v="281" actId="47"/>
        <pc:sldMkLst>
          <pc:docMk/>
          <pc:sldMk cId="2492784037" sldId="271"/>
        </pc:sldMkLst>
      </pc:sldChg>
      <pc:sldChg chg="del">
        <pc:chgData name="Waleska Crowe" userId="3d8b9f63d04a443d" providerId="LiveId" clId="{6916D134-3C37-4140-9E51-EE242C413745}" dt="2023-06-13T01:16:09.585" v="557" actId="47"/>
        <pc:sldMkLst>
          <pc:docMk/>
          <pc:sldMk cId="3209011674" sldId="272"/>
        </pc:sldMkLst>
      </pc:sldChg>
      <pc:sldChg chg="del">
        <pc:chgData name="Waleska Crowe" userId="3d8b9f63d04a443d" providerId="LiveId" clId="{6916D134-3C37-4140-9E51-EE242C413745}" dt="2023-06-13T01:16:26.111" v="560" actId="47"/>
        <pc:sldMkLst>
          <pc:docMk/>
          <pc:sldMk cId="680024110" sldId="273"/>
        </pc:sldMkLst>
      </pc:sldChg>
      <pc:sldChg chg="del">
        <pc:chgData name="Waleska Crowe" userId="3d8b9f63d04a443d" providerId="LiveId" clId="{6916D134-3C37-4140-9E51-EE242C413745}" dt="2023-06-13T01:19:39.583" v="582" actId="47"/>
        <pc:sldMkLst>
          <pc:docMk/>
          <pc:sldMk cId="3745184603" sldId="274"/>
        </pc:sldMkLst>
      </pc:sldChg>
      <pc:sldChg chg="addSp delSp modSp new del mod ord modClrScheme chgLayout">
        <pc:chgData name="Waleska Crowe" userId="3d8b9f63d04a443d" providerId="LiveId" clId="{6916D134-3C37-4140-9E51-EE242C413745}" dt="2023-06-13T01:21:37.485" v="591" actId="47"/>
        <pc:sldMkLst>
          <pc:docMk/>
          <pc:sldMk cId="2663646698" sldId="275"/>
        </pc:sldMkLst>
        <pc:spChg chg="del">
          <ac:chgData name="Waleska Crowe" userId="3d8b9f63d04a443d" providerId="LiveId" clId="{6916D134-3C37-4140-9E51-EE242C413745}" dt="2023-06-13T00:35:59.109" v="127" actId="700"/>
          <ac:spMkLst>
            <pc:docMk/>
            <pc:sldMk cId="2663646698" sldId="275"/>
            <ac:spMk id="2" creationId="{CEBA727F-5817-BEB3-6F14-DB7060F31C5A}"/>
          </ac:spMkLst>
        </pc:spChg>
        <pc:spChg chg="mod ord">
          <ac:chgData name="Waleska Crowe" userId="3d8b9f63d04a443d" providerId="LiveId" clId="{6916D134-3C37-4140-9E51-EE242C413745}" dt="2023-06-13T00:42:02.351" v="256" actId="20577"/>
          <ac:spMkLst>
            <pc:docMk/>
            <pc:sldMk cId="2663646698" sldId="275"/>
            <ac:spMk id="3" creationId="{66F731D1-0F30-5A5D-7C6D-970342AAC59A}"/>
          </ac:spMkLst>
        </pc:spChg>
        <pc:spChg chg="add del">
          <ac:chgData name="Waleska Crowe" userId="3d8b9f63d04a443d" providerId="LiveId" clId="{6916D134-3C37-4140-9E51-EE242C413745}" dt="2023-06-13T00:31:06.624" v="26"/>
          <ac:spMkLst>
            <pc:docMk/>
            <pc:sldMk cId="2663646698" sldId="275"/>
            <ac:spMk id="4" creationId="{8BD0A13A-FB19-1768-7366-3EB5BEBE1DD0}"/>
          </ac:spMkLst>
        </pc:spChg>
        <pc:spChg chg="add mod ord">
          <ac:chgData name="Waleska Crowe" userId="3d8b9f63d04a443d" providerId="LiveId" clId="{6916D134-3C37-4140-9E51-EE242C413745}" dt="2023-06-13T00:40:50.242" v="247" actId="700"/>
          <ac:spMkLst>
            <pc:docMk/>
            <pc:sldMk cId="2663646698" sldId="275"/>
            <ac:spMk id="6" creationId="{8DA66E3C-9A40-DA0F-5882-D4DCD8593572}"/>
          </ac:spMkLst>
        </pc:spChg>
        <pc:spChg chg="add del mod ord">
          <ac:chgData name="Waleska Crowe" userId="3d8b9f63d04a443d" providerId="LiveId" clId="{6916D134-3C37-4140-9E51-EE242C413745}" dt="2023-06-13T00:40:54.830" v="249" actId="22"/>
          <ac:spMkLst>
            <pc:docMk/>
            <pc:sldMk cId="2663646698" sldId="275"/>
            <ac:spMk id="7" creationId="{895B85E6-EF81-7CDA-F60E-6068F06DD4B9}"/>
          </ac:spMkLst>
        </pc:spChg>
        <pc:picChg chg="add del mod">
          <ac:chgData name="Waleska Crowe" userId="3d8b9f63d04a443d" providerId="LiveId" clId="{6916D134-3C37-4140-9E51-EE242C413745}" dt="2023-06-13T00:35:49.296" v="125" actId="478"/>
          <ac:picMkLst>
            <pc:docMk/>
            <pc:sldMk cId="2663646698" sldId="275"/>
            <ac:picMk id="5" creationId="{31250CF9-70D8-686F-F491-0CE578574C9C}"/>
          </ac:picMkLst>
        </pc:picChg>
        <pc:picChg chg="add mod ord modCrop">
          <ac:chgData name="Waleska Crowe" userId="3d8b9f63d04a443d" providerId="LiveId" clId="{6916D134-3C37-4140-9E51-EE242C413745}" dt="2023-06-13T01:19:48.565" v="583" actId="14100"/>
          <ac:picMkLst>
            <pc:docMk/>
            <pc:sldMk cId="2663646698" sldId="275"/>
            <ac:picMk id="9" creationId="{D564AA6C-F242-AC49-1DC0-251B8F2058C3}"/>
          </ac:picMkLst>
        </pc:picChg>
        <pc:picChg chg="add del mod">
          <ac:chgData name="Waleska Crowe" userId="3d8b9f63d04a443d" providerId="LiveId" clId="{6916D134-3C37-4140-9E51-EE242C413745}" dt="2023-06-13T00:33:03.121" v="81"/>
          <ac:picMkLst>
            <pc:docMk/>
            <pc:sldMk cId="2663646698" sldId="275"/>
            <ac:picMk id="1028" creationId="{828CA7CD-8CB4-63C1-129C-A5320335DFF4}"/>
          </ac:picMkLst>
        </pc:picChg>
        <pc:picChg chg="add del mod">
          <ac:chgData name="Waleska Crowe" userId="3d8b9f63d04a443d" providerId="LiveId" clId="{6916D134-3C37-4140-9E51-EE242C413745}" dt="2023-06-13T00:35:51.170" v="126" actId="478"/>
          <ac:picMkLst>
            <pc:docMk/>
            <pc:sldMk cId="2663646698" sldId="275"/>
            <ac:picMk id="1030" creationId="{1696CD63-CB22-27EB-86A7-88E50200D265}"/>
          </ac:picMkLst>
        </pc:picChg>
      </pc:sldChg>
      <pc:sldChg chg="addSp delSp modSp new del mod modClrScheme chgLayout">
        <pc:chgData name="Waleska Crowe" userId="3d8b9f63d04a443d" providerId="LiveId" clId="{6916D134-3C37-4140-9E51-EE242C413745}" dt="2023-06-13T00:48:55.924" v="287" actId="47"/>
        <pc:sldMkLst>
          <pc:docMk/>
          <pc:sldMk cId="1496398677" sldId="276"/>
        </pc:sldMkLst>
        <pc:spChg chg="del mod ord">
          <ac:chgData name="Waleska Crowe" userId="3d8b9f63d04a443d" providerId="LiveId" clId="{6916D134-3C37-4140-9E51-EE242C413745}" dt="2023-06-13T00:42:55.038" v="260" actId="700"/>
          <ac:spMkLst>
            <pc:docMk/>
            <pc:sldMk cId="1496398677" sldId="276"/>
            <ac:spMk id="2" creationId="{641FBB42-E591-503A-D432-FFEF0BC93C9C}"/>
          </ac:spMkLst>
        </pc:spChg>
        <pc:spChg chg="del mod ord">
          <ac:chgData name="Waleska Crowe" userId="3d8b9f63d04a443d" providerId="LiveId" clId="{6916D134-3C37-4140-9E51-EE242C413745}" dt="2023-06-13T00:42:55.038" v="260" actId="700"/>
          <ac:spMkLst>
            <pc:docMk/>
            <pc:sldMk cId="1496398677" sldId="276"/>
            <ac:spMk id="3" creationId="{BDD5DF8B-D00A-C8F8-A21C-6924A9EF1DB3}"/>
          </ac:spMkLst>
        </pc:spChg>
        <pc:spChg chg="del">
          <ac:chgData name="Waleska Crowe" userId="3d8b9f63d04a443d" providerId="LiveId" clId="{6916D134-3C37-4140-9E51-EE242C413745}" dt="2023-06-13T00:42:55.038" v="260" actId="700"/>
          <ac:spMkLst>
            <pc:docMk/>
            <pc:sldMk cId="1496398677" sldId="276"/>
            <ac:spMk id="4" creationId="{232054A9-8DAE-5B7F-6AE9-A234DD77CDBC}"/>
          </ac:spMkLst>
        </pc:spChg>
        <pc:spChg chg="add mod ord">
          <ac:chgData name="Waleska Crowe" userId="3d8b9f63d04a443d" providerId="LiveId" clId="{6916D134-3C37-4140-9E51-EE242C413745}" dt="2023-06-13T00:42:55.038" v="260" actId="700"/>
          <ac:spMkLst>
            <pc:docMk/>
            <pc:sldMk cId="1496398677" sldId="276"/>
            <ac:spMk id="5" creationId="{CC7D37E7-C7AE-3B33-00B3-06F19AA7D30D}"/>
          </ac:spMkLst>
        </pc:spChg>
        <pc:spChg chg="add mod ord">
          <ac:chgData name="Waleska Crowe" userId="3d8b9f63d04a443d" providerId="LiveId" clId="{6916D134-3C37-4140-9E51-EE242C413745}" dt="2023-06-13T00:42:55.038" v="260" actId="700"/>
          <ac:spMkLst>
            <pc:docMk/>
            <pc:sldMk cId="1496398677" sldId="276"/>
            <ac:spMk id="6" creationId="{24B577C1-BC3D-36BB-2749-153C28247A51}"/>
          </ac:spMkLst>
        </pc:spChg>
      </pc:sldChg>
      <pc:sldChg chg="addSp delSp modSp add del mod ord modClrScheme chgLayout">
        <pc:chgData name="Waleska Crowe" userId="3d8b9f63d04a443d" providerId="LiveId" clId="{6916D134-3C37-4140-9E51-EE242C413745}" dt="2023-06-13T01:25:28.515" v="659" actId="47"/>
        <pc:sldMkLst>
          <pc:docMk/>
          <pc:sldMk cId="774255936" sldId="277"/>
        </pc:sldMkLst>
        <pc:spChg chg="mod ord">
          <ac:chgData name="Waleska Crowe" userId="3d8b9f63d04a443d" providerId="LiveId" clId="{6916D134-3C37-4140-9E51-EE242C413745}" dt="2023-06-13T01:03:37.971" v="385" actId="20577"/>
          <ac:spMkLst>
            <pc:docMk/>
            <pc:sldMk cId="774255936" sldId="277"/>
            <ac:spMk id="2" creationId="{5247FC7E-3E50-3F37-2CAE-74581D7838A1}"/>
          </ac:spMkLst>
        </pc:spChg>
        <pc:spChg chg="del mod">
          <ac:chgData name="Waleska Crowe" userId="3d8b9f63d04a443d" providerId="LiveId" clId="{6916D134-3C37-4140-9E51-EE242C413745}" dt="2023-06-13T00:46:22.217" v="265" actId="22"/>
          <ac:spMkLst>
            <pc:docMk/>
            <pc:sldMk cId="774255936" sldId="277"/>
            <ac:spMk id="3" creationId="{A7950EAC-81E6-9DA5-EA6E-2FB421B18B7B}"/>
          </ac:spMkLst>
        </pc:spChg>
        <pc:spChg chg="add mod ord">
          <ac:chgData name="Waleska Crowe" userId="3d8b9f63d04a443d" providerId="LiveId" clId="{6916D134-3C37-4140-9E51-EE242C413745}" dt="2023-06-13T01:03:20.651" v="354"/>
          <ac:spMkLst>
            <pc:docMk/>
            <pc:sldMk cId="774255936" sldId="277"/>
            <ac:spMk id="6" creationId="{1EBD400E-56EF-AFC6-EA97-B7D0DF031DB6}"/>
          </ac:spMkLst>
        </pc:spChg>
        <pc:spChg chg="add mod ord">
          <ac:chgData name="Waleska Crowe" userId="3d8b9f63d04a443d" providerId="LiveId" clId="{6916D134-3C37-4140-9E51-EE242C413745}" dt="2023-06-13T01:03:10.619" v="353"/>
          <ac:spMkLst>
            <pc:docMk/>
            <pc:sldMk cId="774255936" sldId="277"/>
            <ac:spMk id="7" creationId="{ECB4287A-3763-9EAE-3238-74B494FCFC18}"/>
          </ac:spMkLst>
        </pc:spChg>
        <pc:spChg chg="add del mod ord">
          <ac:chgData name="Waleska Crowe" userId="3d8b9f63d04a443d" providerId="LiveId" clId="{6916D134-3C37-4140-9E51-EE242C413745}" dt="2023-06-13T01:03:48.650" v="387"/>
          <ac:spMkLst>
            <pc:docMk/>
            <pc:sldMk cId="774255936" sldId="277"/>
            <ac:spMk id="8" creationId="{E47D04BD-E0AE-6FC0-46AF-F50C9500710B}"/>
          </ac:spMkLst>
        </pc:spChg>
        <pc:spChg chg="add del mod">
          <ac:chgData name="Waleska Crowe" userId="3d8b9f63d04a443d" providerId="LiveId" clId="{6916D134-3C37-4140-9E51-EE242C413745}" dt="2023-06-13T01:06:11.558" v="391" actId="22"/>
          <ac:spMkLst>
            <pc:docMk/>
            <pc:sldMk cId="774255936" sldId="277"/>
            <ac:spMk id="11" creationId="{63BF92A8-E69D-6402-C7B6-58DBFC5A3DEC}"/>
          </ac:spMkLst>
        </pc:spChg>
        <pc:picChg chg="add del mod ord modCrop">
          <ac:chgData name="Waleska Crowe" userId="3d8b9f63d04a443d" providerId="LiveId" clId="{6916D134-3C37-4140-9E51-EE242C413745}" dt="2023-06-13T01:06:07.553" v="389" actId="478"/>
          <ac:picMkLst>
            <pc:docMk/>
            <pc:sldMk cId="774255936" sldId="277"/>
            <ac:picMk id="5" creationId="{09321D88-956E-EC8D-4A04-0CE12704153D}"/>
          </ac:picMkLst>
        </pc:picChg>
        <pc:picChg chg="add mod">
          <ac:chgData name="Waleska Crowe" userId="3d8b9f63d04a443d" providerId="LiveId" clId="{6916D134-3C37-4140-9E51-EE242C413745}" dt="2023-06-13T01:03:48.650" v="387"/>
          <ac:picMkLst>
            <pc:docMk/>
            <pc:sldMk cId="774255936" sldId="277"/>
            <ac:picMk id="9" creationId="{14834213-76A5-3F98-F97F-68CCA3836CA0}"/>
          </ac:picMkLst>
        </pc:picChg>
        <pc:picChg chg="add mod ord modCrop">
          <ac:chgData name="Waleska Crowe" userId="3d8b9f63d04a443d" providerId="LiveId" clId="{6916D134-3C37-4140-9E51-EE242C413745}" dt="2023-06-13T01:06:40.240" v="399" actId="1076"/>
          <ac:picMkLst>
            <pc:docMk/>
            <pc:sldMk cId="774255936" sldId="277"/>
            <ac:picMk id="13" creationId="{3C7B5B09-A956-D28D-59A8-D7452CA4A1D8}"/>
          </ac:picMkLst>
        </pc:picChg>
      </pc:sldChg>
      <pc:sldChg chg="new del">
        <pc:chgData name="Waleska Crowe" userId="3d8b9f63d04a443d" providerId="LiveId" clId="{6916D134-3C37-4140-9E51-EE242C413745}" dt="2023-06-13T01:01:38.002" v="347" actId="47"/>
        <pc:sldMkLst>
          <pc:docMk/>
          <pc:sldMk cId="1906696839" sldId="278"/>
        </pc:sldMkLst>
      </pc:sldChg>
      <pc:sldChg chg="addSp delSp modSp new mod setBg modClrScheme setClrOvrMap chgLayout">
        <pc:chgData name="Waleska Crowe" userId="3d8b9f63d04a443d" providerId="LiveId" clId="{6916D134-3C37-4140-9E51-EE242C413745}" dt="2023-06-13T01:09:01.538" v="525" actId="255"/>
        <pc:sldMkLst>
          <pc:docMk/>
          <pc:sldMk cId="4111990123" sldId="278"/>
        </pc:sldMkLst>
        <pc:spChg chg="del mod ord">
          <ac:chgData name="Waleska Crowe" userId="3d8b9f63d04a443d" providerId="LiveId" clId="{6916D134-3C37-4140-9E51-EE242C413745}" dt="2023-06-13T01:07:19.720" v="403" actId="700"/>
          <ac:spMkLst>
            <pc:docMk/>
            <pc:sldMk cId="4111990123" sldId="278"/>
            <ac:spMk id="2" creationId="{FE4AA992-855D-EA8C-7496-86071FDE062D}"/>
          </ac:spMkLst>
        </pc:spChg>
        <pc:spChg chg="del mod ord">
          <ac:chgData name="Waleska Crowe" userId="3d8b9f63d04a443d" providerId="LiveId" clId="{6916D134-3C37-4140-9E51-EE242C413745}" dt="2023-06-13T01:07:19.720" v="403" actId="700"/>
          <ac:spMkLst>
            <pc:docMk/>
            <pc:sldMk cId="4111990123" sldId="278"/>
            <ac:spMk id="3" creationId="{4C20CB10-5543-E225-1116-5DB816D48564}"/>
          </ac:spMkLst>
        </pc:spChg>
        <pc:spChg chg="add mod ord">
          <ac:chgData name="Waleska Crowe" userId="3d8b9f63d04a443d" providerId="LiveId" clId="{6916D134-3C37-4140-9E51-EE242C413745}" dt="2023-06-13T01:09:01.538" v="525" actId="255"/>
          <ac:spMkLst>
            <pc:docMk/>
            <pc:sldMk cId="4111990123" sldId="278"/>
            <ac:spMk id="4" creationId="{EEA47603-3562-96B1-B02D-696013E7F1C8}"/>
          </ac:spMkLst>
        </pc:spChg>
        <pc:spChg chg="add mod ord">
          <ac:chgData name="Waleska Crowe" userId="3d8b9f63d04a443d" providerId="LiveId" clId="{6916D134-3C37-4140-9E51-EE242C413745}" dt="2023-06-13T01:08:51.606" v="524" actId="27636"/>
          <ac:spMkLst>
            <pc:docMk/>
            <pc:sldMk cId="4111990123" sldId="278"/>
            <ac:spMk id="5" creationId="{AC049B05-C9B7-D137-709B-1DB2B672136C}"/>
          </ac:spMkLst>
        </pc:spChg>
        <pc:spChg chg="add del">
          <ac:chgData name="Waleska Crowe" userId="3d8b9f63d04a443d" providerId="LiveId" clId="{6916D134-3C37-4140-9E51-EE242C413745}" dt="2023-06-13T01:08:28.328" v="514" actId="26606"/>
          <ac:spMkLst>
            <pc:docMk/>
            <pc:sldMk cId="4111990123" sldId="278"/>
            <ac:spMk id="11" creationId="{71B2258F-86CA-4D4D-8270-BC05FCDEBFB3}"/>
          </ac:spMkLst>
        </pc:spChg>
        <pc:spChg chg="add del">
          <ac:chgData name="Waleska Crowe" userId="3d8b9f63d04a443d" providerId="LiveId" clId="{6916D134-3C37-4140-9E51-EE242C413745}" dt="2023-06-13T01:08:34.018" v="516" actId="26606"/>
          <ac:spMkLst>
            <pc:docMk/>
            <pc:sldMk cId="4111990123" sldId="278"/>
            <ac:spMk id="13" creationId="{D74A4382-E3AD-430A-9A1F-DFA3E0E77A7D}"/>
          </ac:spMkLst>
        </pc:spChg>
        <pc:spChg chg="add del">
          <ac:chgData name="Waleska Crowe" userId="3d8b9f63d04a443d" providerId="LiveId" clId="{6916D134-3C37-4140-9E51-EE242C413745}" dt="2023-06-13T01:08:34.018" v="516" actId="26606"/>
          <ac:spMkLst>
            <pc:docMk/>
            <pc:sldMk cId="4111990123" sldId="278"/>
            <ac:spMk id="14" creationId="{5A59F003-E00A-43F9-91DC-CC54E3B87466}"/>
          </ac:spMkLst>
        </pc:spChg>
        <pc:spChg chg="add del">
          <ac:chgData name="Waleska Crowe" userId="3d8b9f63d04a443d" providerId="LiveId" clId="{6916D134-3C37-4140-9E51-EE242C413745}" dt="2023-06-13T01:08:34.018" v="516" actId="26606"/>
          <ac:spMkLst>
            <pc:docMk/>
            <pc:sldMk cId="4111990123" sldId="278"/>
            <ac:spMk id="15" creationId="{79F40191-0F44-4FD1-82CC-ACB507C14BE6}"/>
          </ac:spMkLst>
        </pc:spChg>
        <pc:spChg chg="add">
          <ac:chgData name="Waleska Crowe" userId="3d8b9f63d04a443d" providerId="LiveId" clId="{6916D134-3C37-4140-9E51-EE242C413745}" dt="2023-06-13T01:08:34.066" v="517" actId="26606"/>
          <ac:spMkLst>
            <pc:docMk/>
            <pc:sldMk cId="4111990123" sldId="278"/>
            <ac:spMk id="18" creationId="{71B2258F-86CA-4D4D-8270-BC05FCDEBFB3}"/>
          </ac:spMkLst>
        </pc:spChg>
        <pc:picChg chg="add del">
          <ac:chgData name="Waleska Crowe" userId="3d8b9f63d04a443d" providerId="LiveId" clId="{6916D134-3C37-4140-9E51-EE242C413745}" dt="2023-06-13T01:08:28.328" v="514" actId="26606"/>
          <ac:picMkLst>
            <pc:docMk/>
            <pc:sldMk cId="4111990123" sldId="278"/>
            <ac:picMk id="7" creationId="{55B0B344-6834-93D4-8ADE-93B9DE920431}"/>
          </ac:picMkLst>
        </pc:picChg>
        <pc:picChg chg="add del">
          <ac:chgData name="Waleska Crowe" userId="3d8b9f63d04a443d" providerId="LiveId" clId="{6916D134-3C37-4140-9E51-EE242C413745}" dt="2023-06-13T01:08:34.018" v="516" actId="26606"/>
          <ac:picMkLst>
            <pc:docMk/>
            <pc:sldMk cId="4111990123" sldId="278"/>
            <ac:picMk id="16" creationId="{D05E33C4-8EE1-20BC-C03B-D5F7ECAC47C3}"/>
          </ac:picMkLst>
        </pc:picChg>
        <pc:picChg chg="add">
          <ac:chgData name="Waleska Crowe" userId="3d8b9f63d04a443d" providerId="LiveId" clId="{6916D134-3C37-4140-9E51-EE242C413745}" dt="2023-06-13T01:08:34.066" v="517" actId="26606"/>
          <ac:picMkLst>
            <pc:docMk/>
            <pc:sldMk cId="4111990123" sldId="278"/>
            <ac:picMk id="19" creationId="{55B0B344-6834-93D4-8ADE-93B9DE920431}"/>
          </ac:picMkLst>
        </pc:picChg>
      </pc:sldChg>
      <pc:sldChg chg="new del">
        <pc:chgData name="Waleska Crowe" userId="3d8b9f63d04a443d" providerId="LiveId" clId="{6916D134-3C37-4140-9E51-EE242C413745}" dt="2023-06-13T01:26:34.967" v="689" actId="47"/>
        <pc:sldMkLst>
          <pc:docMk/>
          <pc:sldMk cId="3854784277" sldId="279"/>
        </pc:sldMkLst>
      </pc:sldChg>
      <pc:sldChg chg="delSp modSp add mod">
        <pc:chgData name="Waleska Crowe" userId="3d8b9f63d04a443d" providerId="LiveId" clId="{6916D134-3C37-4140-9E51-EE242C413745}" dt="2023-06-13T01:30:32.852" v="735" actId="14100"/>
        <pc:sldMkLst>
          <pc:docMk/>
          <pc:sldMk cId="0" sldId="389"/>
        </pc:sldMkLst>
        <pc:spChg chg="mod">
          <ac:chgData name="Waleska Crowe" userId="3d8b9f63d04a443d" providerId="LiveId" clId="{6916D134-3C37-4140-9E51-EE242C413745}" dt="2023-06-13T01:30:32.852" v="735" actId="14100"/>
          <ac:spMkLst>
            <pc:docMk/>
            <pc:sldMk cId="0" sldId="389"/>
            <ac:spMk id="15363" creationId="{ED13F15B-A93F-4B42-8148-E3E2E8A05687}"/>
          </ac:spMkLst>
        </pc:spChg>
        <pc:spChg chg="mod">
          <ac:chgData name="Waleska Crowe" userId="3d8b9f63d04a443d" providerId="LiveId" clId="{6916D134-3C37-4140-9E51-EE242C413745}" dt="2023-06-13T01:30:05.980" v="716" actId="207"/>
          <ac:spMkLst>
            <pc:docMk/>
            <pc:sldMk cId="0" sldId="389"/>
            <ac:spMk id="15364" creationId="{FC2207E6-2DC2-4EE8-91E7-BBF301FC355F}"/>
          </ac:spMkLst>
        </pc:spChg>
        <pc:picChg chg="del">
          <ac:chgData name="Waleska Crowe" userId="3d8b9f63d04a443d" providerId="LiveId" clId="{6916D134-3C37-4140-9E51-EE242C413745}" dt="2023-06-13T01:30:08.300" v="717" actId="478"/>
          <ac:picMkLst>
            <pc:docMk/>
            <pc:sldMk cId="0" sldId="389"/>
            <ac:picMk id="10" creationId="{9123FC0D-368B-6447-AADF-6653B92EE4E7}"/>
          </ac:picMkLst>
        </pc:picChg>
      </pc:sldChg>
      <pc:sldChg chg="addSp delSp modSp add del mod modClrScheme chgLayout">
        <pc:chgData name="Waleska Crowe" userId="3d8b9f63d04a443d" providerId="LiveId" clId="{6916D134-3C37-4140-9E51-EE242C413745}" dt="2023-06-13T01:01:36.370" v="346" actId="47"/>
        <pc:sldMkLst>
          <pc:docMk/>
          <pc:sldMk cId="2111464640" sldId="397"/>
        </pc:sldMkLst>
        <pc:spChg chg="del mod">
          <ac:chgData name="Waleska Crowe" userId="3d8b9f63d04a443d" providerId="LiveId" clId="{6916D134-3C37-4140-9E51-EE242C413745}" dt="2023-06-13T00:58:51.363" v="337" actId="478"/>
          <ac:spMkLst>
            <pc:docMk/>
            <pc:sldMk cId="2111464640" sldId="397"/>
            <ac:spMk id="2" creationId="{6DA1B350-EE87-5946-B6B7-5AACF58A2A36}"/>
          </ac:spMkLst>
        </pc:spChg>
        <pc:spChg chg="mod">
          <ac:chgData name="Waleska Crowe" userId="3d8b9f63d04a443d" providerId="LiveId" clId="{6916D134-3C37-4140-9E51-EE242C413745}" dt="2023-06-13T00:58:31.703" v="302" actId="20577"/>
          <ac:spMkLst>
            <pc:docMk/>
            <pc:sldMk cId="2111464640" sldId="397"/>
            <ac:spMk id="3" creationId="{6DC44C72-C51B-4445-91A3-471ABDDA7BAE}"/>
          </ac:spMkLst>
        </pc:spChg>
        <pc:spChg chg="mod">
          <ac:chgData name="Waleska Crowe" userId="3d8b9f63d04a443d" providerId="LiveId" clId="{6916D134-3C37-4140-9E51-EE242C413745}" dt="2023-06-13T00:54:31.993" v="292" actId="5793"/>
          <ac:spMkLst>
            <pc:docMk/>
            <pc:sldMk cId="2111464640" sldId="397"/>
            <ac:spMk id="4" creationId="{2F228A27-DD38-40AE-8A02-37BE719A7F0D}"/>
          </ac:spMkLst>
        </pc:spChg>
        <pc:spChg chg="add del mod ord">
          <ac:chgData name="Waleska Crowe" userId="3d8b9f63d04a443d" providerId="LiveId" clId="{6916D134-3C37-4140-9E51-EE242C413745}" dt="2023-06-13T00:59:56.230" v="343" actId="6264"/>
          <ac:spMkLst>
            <pc:docMk/>
            <pc:sldMk cId="2111464640" sldId="397"/>
            <ac:spMk id="6" creationId="{50428076-BA17-8D94-519C-35F56050A7AB}"/>
          </ac:spMkLst>
        </pc:spChg>
        <pc:spChg chg="add del mod ord">
          <ac:chgData name="Waleska Crowe" userId="3d8b9f63d04a443d" providerId="LiveId" clId="{6916D134-3C37-4140-9E51-EE242C413745}" dt="2023-06-13T00:59:56.230" v="343" actId="6264"/>
          <ac:spMkLst>
            <pc:docMk/>
            <pc:sldMk cId="2111464640" sldId="397"/>
            <ac:spMk id="7" creationId="{BCD2B7E4-D845-4CAE-AAA8-F6166E6A476E}"/>
          </ac:spMkLst>
        </pc:spChg>
        <pc:spChg chg="add del mod ord">
          <ac:chgData name="Waleska Crowe" userId="3d8b9f63d04a443d" providerId="LiveId" clId="{6916D134-3C37-4140-9E51-EE242C413745}" dt="2023-06-13T00:59:56.230" v="343" actId="6264"/>
          <ac:spMkLst>
            <pc:docMk/>
            <pc:sldMk cId="2111464640" sldId="397"/>
            <ac:spMk id="8" creationId="{1756BCFE-23A2-1BB8-BD54-628126F70409}"/>
          </ac:spMkLst>
        </pc:spChg>
        <pc:spChg chg="add del mod ord">
          <ac:chgData name="Waleska Crowe" userId="3d8b9f63d04a443d" providerId="LiveId" clId="{6916D134-3C37-4140-9E51-EE242C413745}" dt="2023-06-13T00:59:56.230" v="343" actId="6264"/>
          <ac:spMkLst>
            <pc:docMk/>
            <pc:sldMk cId="2111464640" sldId="397"/>
            <ac:spMk id="9" creationId="{BE34313E-B7A5-4228-3917-CED4F54B4F5D}"/>
          </ac:spMkLst>
        </pc:spChg>
        <pc:picChg chg="add del mod">
          <ac:chgData name="Waleska Crowe" userId="3d8b9f63d04a443d" providerId="LiveId" clId="{6916D134-3C37-4140-9E51-EE242C413745}" dt="2023-06-13T00:55:16.996" v="300"/>
          <ac:picMkLst>
            <pc:docMk/>
            <pc:sldMk cId="2111464640" sldId="397"/>
            <ac:picMk id="5" creationId="{F786FD22-9CD0-48C9-DAAD-961FA446CA92}"/>
          </ac:picMkLst>
        </pc:picChg>
      </pc:sldChg>
      <pc:sldChg chg="add del">
        <pc:chgData name="Waleska Crowe" userId="3d8b9f63d04a443d" providerId="LiveId" clId="{6916D134-3C37-4140-9E51-EE242C413745}" dt="2023-06-13T01:01:34.869" v="345" actId="47"/>
        <pc:sldMkLst>
          <pc:docMk/>
          <pc:sldMk cId="1025859981" sldId="398"/>
        </pc:sldMkLst>
      </pc:sldChg>
      <pc:sldChg chg="add del">
        <pc:chgData name="Waleska Crowe" userId="3d8b9f63d04a443d" providerId="LiveId" clId="{6916D134-3C37-4140-9E51-EE242C413745}" dt="2023-06-13T00:58:55.681" v="338" actId="47"/>
        <pc:sldMkLst>
          <pc:docMk/>
          <pc:sldMk cId="2524932105" sldId="398"/>
        </pc:sldMkLst>
      </pc:sldChg>
      <pc:sldChg chg="add del">
        <pc:chgData name="Waleska Crowe" userId="3d8b9f63d04a443d" providerId="LiveId" clId="{6916D134-3C37-4140-9E51-EE242C413745}" dt="2023-06-13T01:01:32.321" v="344" actId="47"/>
        <pc:sldMkLst>
          <pc:docMk/>
          <pc:sldMk cId="1363249457" sldId="399"/>
        </pc:sldMkLst>
      </pc:sldChg>
      <pc:sldChg chg="modSp add mod">
        <pc:chgData name="Waleska Crowe" userId="3d8b9f63d04a443d" providerId="LiveId" clId="{6916D134-3C37-4140-9E51-EE242C413745}" dt="2023-06-13T01:34:32.670" v="768" actId="20577"/>
        <pc:sldMkLst>
          <pc:docMk/>
          <pc:sldMk cId="1262541486" sldId="409"/>
        </pc:sldMkLst>
        <pc:spChg chg="mod">
          <ac:chgData name="Waleska Crowe" userId="3d8b9f63d04a443d" providerId="LiveId" clId="{6916D134-3C37-4140-9E51-EE242C413745}" dt="2023-06-13T01:34:32.670" v="768" actId="20577"/>
          <ac:spMkLst>
            <pc:docMk/>
            <pc:sldMk cId="1262541486" sldId="409"/>
            <ac:spMk id="3" creationId="{7ECC59A6-D09B-427B-A803-E30B8A04EEDE}"/>
          </ac:spMkLst>
        </pc:spChg>
        <pc:picChg chg="mod">
          <ac:chgData name="Waleska Crowe" userId="3d8b9f63d04a443d" providerId="LiveId" clId="{6916D134-3C37-4140-9E51-EE242C413745}" dt="2023-06-13T01:28:21.675" v="706" actId="1076"/>
          <ac:picMkLst>
            <pc:docMk/>
            <pc:sldMk cId="1262541486" sldId="409"/>
            <ac:picMk id="5" creationId="{8E6F628C-6183-7848-BD2A-B0F24874388F}"/>
          </ac:picMkLst>
        </pc:picChg>
      </pc:sldChg>
      <pc:sldChg chg="addSp modSp add mod setBg">
        <pc:chgData name="Waleska Crowe" userId="3d8b9f63d04a443d" providerId="LiveId" clId="{6916D134-3C37-4140-9E51-EE242C413745}" dt="2023-06-13T01:31:26.466" v="741"/>
        <pc:sldMkLst>
          <pc:docMk/>
          <pc:sldMk cId="432371877" sldId="420"/>
        </pc:sldMkLst>
        <pc:spChg chg="mod">
          <ac:chgData name="Waleska Crowe" userId="3d8b9f63d04a443d" providerId="LiveId" clId="{6916D134-3C37-4140-9E51-EE242C413745}" dt="2023-06-13T01:13:11.366" v="534" actId="14100"/>
          <ac:spMkLst>
            <pc:docMk/>
            <pc:sldMk cId="432371877" sldId="420"/>
            <ac:spMk id="3" creationId="{58D01ED7-3BAA-4032-BB04-FBC862F6F5A3}"/>
          </ac:spMkLst>
        </pc:spChg>
        <pc:picChg chg="add mod">
          <ac:chgData name="Waleska Crowe" userId="3d8b9f63d04a443d" providerId="LiveId" clId="{6916D134-3C37-4140-9E51-EE242C413745}" dt="2023-06-13T01:13:16.055" v="535" actId="1076"/>
          <ac:picMkLst>
            <pc:docMk/>
            <pc:sldMk cId="432371877" sldId="420"/>
            <ac:picMk id="2" creationId="{EE2C4402-0206-7F1B-4C76-7EC1401CE5A4}"/>
          </ac:picMkLst>
        </pc:picChg>
      </pc:sldChg>
      <pc:sldChg chg="addSp delSp modSp add mod setBg">
        <pc:chgData name="Waleska Crowe" userId="3d8b9f63d04a443d" providerId="LiveId" clId="{6916D134-3C37-4140-9E51-EE242C413745}" dt="2023-06-13T01:32:23.069" v="755"/>
        <pc:sldMkLst>
          <pc:docMk/>
          <pc:sldMk cId="2577536402" sldId="421"/>
        </pc:sldMkLst>
        <pc:spChg chg="mod">
          <ac:chgData name="Waleska Crowe" userId="3d8b9f63d04a443d" providerId="LiveId" clId="{6916D134-3C37-4140-9E51-EE242C413745}" dt="2023-06-13T01:13:58.660" v="539" actId="255"/>
          <ac:spMkLst>
            <pc:docMk/>
            <pc:sldMk cId="2577536402" sldId="421"/>
            <ac:spMk id="3" creationId="{58D01ED7-3BAA-4032-BB04-FBC862F6F5A3}"/>
          </ac:spMkLst>
        </pc:spChg>
        <pc:picChg chg="del">
          <ac:chgData name="Waleska Crowe" userId="3d8b9f63d04a443d" providerId="LiveId" clId="{6916D134-3C37-4140-9E51-EE242C413745}" dt="2023-06-13T01:13:32.394" v="537" actId="478"/>
          <ac:picMkLst>
            <pc:docMk/>
            <pc:sldMk cId="2577536402" sldId="421"/>
            <ac:picMk id="2" creationId="{EE2C4402-0206-7F1B-4C76-7EC1401CE5A4}"/>
          </ac:picMkLst>
        </pc:picChg>
        <pc:picChg chg="add mod">
          <ac:chgData name="Waleska Crowe" userId="3d8b9f63d04a443d" providerId="LiveId" clId="{6916D134-3C37-4140-9E51-EE242C413745}" dt="2023-06-13T01:14:33.604" v="543" actId="14100"/>
          <ac:picMkLst>
            <pc:docMk/>
            <pc:sldMk cId="2577536402" sldId="421"/>
            <ac:picMk id="5" creationId="{9861F27B-7BCB-DACA-4312-AFDF01EA86AE}"/>
          </ac:picMkLst>
        </pc:picChg>
      </pc:sldChg>
      <pc:sldChg chg="addSp delSp modSp add mod setBg">
        <pc:chgData name="Waleska Crowe" userId="3d8b9f63d04a443d" providerId="LiveId" clId="{6916D134-3C37-4140-9E51-EE242C413745}" dt="2023-06-13T01:32:34.236" v="757" actId="1076"/>
        <pc:sldMkLst>
          <pc:docMk/>
          <pc:sldMk cId="1838375962" sldId="422"/>
        </pc:sldMkLst>
        <pc:picChg chg="add mod">
          <ac:chgData name="Waleska Crowe" userId="3d8b9f63d04a443d" providerId="LiveId" clId="{6916D134-3C37-4140-9E51-EE242C413745}" dt="2023-06-13T01:32:34.236" v="757" actId="1076"/>
          <ac:picMkLst>
            <pc:docMk/>
            <pc:sldMk cId="1838375962" sldId="422"/>
            <ac:picMk id="2" creationId="{43B9EC25-4E1A-5308-8685-069338921BF8}"/>
          </ac:picMkLst>
        </pc:picChg>
        <pc:picChg chg="del">
          <ac:chgData name="Waleska Crowe" userId="3d8b9f63d04a443d" providerId="LiveId" clId="{6916D134-3C37-4140-9E51-EE242C413745}" dt="2023-06-13T01:14:50.317" v="545" actId="478"/>
          <ac:picMkLst>
            <pc:docMk/>
            <pc:sldMk cId="1838375962" sldId="422"/>
            <ac:picMk id="5" creationId="{9861F27B-7BCB-DACA-4312-AFDF01EA86AE}"/>
          </ac:picMkLst>
        </pc:picChg>
      </pc:sldChg>
      <pc:sldChg chg="addSp modSp add">
        <pc:chgData name="Waleska Crowe" userId="3d8b9f63d04a443d" providerId="LiveId" clId="{6916D134-3C37-4140-9E51-EE242C413745}" dt="2023-06-13T01:16:02.143" v="556"/>
        <pc:sldMkLst>
          <pc:docMk/>
          <pc:sldMk cId="3106991151" sldId="423"/>
        </pc:sldMkLst>
        <pc:picChg chg="add mod">
          <ac:chgData name="Waleska Crowe" userId="3d8b9f63d04a443d" providerId="LiveId" clId="{6916D134-3C37-4140-9E51-EE242C413745}" dt="2023-06-13T01:16:02.143" v="556"/>
          <ac:picMkLst>
            <pc:docMk/>
            <pc:sldMk cId="3106991151" sldId="423"/>
            <ac:picMk id="2" creationId="{D998A86A-76FF-0355-C27D-87D32895F125}"/>
          </ac:picMkLst>
        </pc:picChg>
      </pc:sldChg>
      <pc:sldChg chg="addSp delSp modSp add del mod modClrScheme chgLayout">
        <pc:chgData name="Waleska Crowe" userId="3d8b9f63d04a443d" providerId="LiveId" clId="{6916D134-3C37-4140-9E51-EE242C413745}" dt="2023-06-13T01:20:38.103" v="586" actId="47"/>
        <pc:sldMkLst>
          <pc:docMk/>
          <pc:sldMk cId="2019325350" sldId="424"/>
        </pc:sldMkLst>
        <pc:spChg chg="add del mod ord">
          <ac:chgData name="Waleska Crowe" userId="3d8b9f63d04a443d" providerId="LiveId" clId="{6916D134-3C37-4140-9E51-EE242C413745}" dt="2023-06-13T01:20:24.094" v="585" actId="700"/>
          <ac:spMkLst>
            <pc:docMk/>
            <pc:sldMk cId="2019325350" sldId="424"/>
            <ac:spMk id="2" creationId="{04E310B3-57D0-9262-C710-6028F16F5A8E}"/>
          </ac:spMkLst>
        </pc:spChg>
        <pc:spChg chg="add del mod ord">
          <ac:chgData name="Waleska Crowe" userId="3d8b9f63d04a443d" providerId="LiveId" clId="{6916D134-3C37-4140-9E51-EE242C413745}" dt="2023-06-13T01:20:24.094" v="585" actId="700"/>
          <ac:spMkLst>
            <pc:docMk/>
            <pc:sldMk cId="2019325350" sldId="424"/>
            <ac:spMk id="5" creationId="{38E89022-B7DD-1EB8-8588-170C2266D966}"/>
          </ac:spMkLst>
        </pc:spChg>
        <pc:spChg chg="add del mod ord">
          <ac:chgData name="Waleska Crowe" userId="3d8b9f63d04a443d" providerId="LiveId" clId="{6916D134-3C37-4140-9E51-EE242C413745}" dt="2023-06-13T01:20:24.094" v="585" actId="700"/>
          <ac:spMkLst>
            <pc:docMk/>
            <pc:sldMk cId="2019325350" sldId="424"/>
            <ac:spMk id="6" creationId="{0754C38D-621A-0396-31C2-2E2D247552BA}"/>
          </ac:spMkLst>
        </pc:spChg>
        <pc:spChg chg="add mod ord">
          <ac:chgData name="Waleska Crowe" userId="3d8b9f63d04a443d" providerId="LiveId" clId="{6916D134-3C37-4140-9E51-EE242C413745}" dt="2023-06-13T01:20:24.094" v="585" actId="700"/>
          <ac:spMkLst>
            <pc:docMk/>
            <pc:sldMk cId="2019325350" sldId="424"/>
            <ac:spMk id="7" creationId="{AA8AC771-D4E0-30EF-E602-A3D7BABA5D70}"/>
          </ac:spMkLst>
        </pc:spChg>
        <pc:spChg chg="add mod ord">
          <ac:chgData name="Waleska Crowe" userId="3d8b9f63d04a443d" providerId="LiveId" clId="{6916D134-3C37-4140-9E51-EE242C413745}" dt="2023-06-13T01:20:24.094" v="585" actId="700"/>
          <ac:spMkLst>
            <pc:docMk/>
            <pc:sldMk cId="2019325350" sldId="424"/>
            <ac:spMk id="8" creationId="{C7D3B9FB-DF4F-670A-AAD6-3B2B3E568DA8}"/>
          </ac:spMkLst>
        </pc:spChg>
        <pc:spChg chg="add mod ord">
          <ac:chgData name="Waleska Crowe" userId="3d8b9f63d04a443d" providerId="LiveId" clId="{6916D134-3C37-4140-9E51-EE242C413745}" dt="2023-06-13T01:20:24.094" v="585" actId="700"/>
          <ac:spMkLst>
            <pc:docMk/>
            <pc:sldMk cId="2019325350" sldId="424"/>
            <ac:spMk id="9" creationId="{4A11C41F-111F-76F1-5CBF-3FC172F1B756}"/>
          </ac:spMkLst>
        </pc:spChg>
        <pc:spChg chg="add mod ord">
          <ac:chgData name="Waleska Crowe" userId="3d8b9f63d04a443d" providerId="LiveId" clId="{6916D134-3C37-4140-9E51-EE242C413745}" dt="2023-06-13T01:20:24.094" v="585" actId="700"/>
          <ac:spMkLst>
            <pc:docMk/>
            <pc:sldMk cId="2019325350" sldId="424"/>
            <ac:spMk id="10" creationId="{86973182-9289-D187-4A82-168DCBA1407A}"/>
          </ac:spMkLst>
        </pc:spChg>
        <pc:spChg chg="add mod ord">
          <ac:chgData name="Waleska Crowe" userId="3d8b9f63d04a443d" providerId="LiveId" clId="{6916D134-3C37-4140-9E51-EE242C413745}" dt="2023-06-13T01:20:24.094" v="585" actId="700"/>
          <ac:spMkLst>
            <pc:docMk/>
            <pc:sldMk cId="2019325350" sldId="424"/>
            <ac:spMk id="11" creationId="{C1DE388B-84E9-C666-9A77-D112866CFB2F}"/>
          </ac:spMkLst>
        </pc:spChg>
      </pc:sldChg>
      <pc:sldChg chg="addSp delSp modSp add mod modClrScheme chgLayout">
        <pc:chgData name="Waleska Crowe" userId="3d8b9f63d04a443d" providerId="LiveId" clId="{6916D134-3C37-4140-9E51-EE242C413745}" dt="2023-06-13T01:33:18.300" v="759" actId="207"/>
        <pc:sldMkLst>
          <pc:docMk/>
          <pc:sldMk cId="233545330" sldId="425"/>
        </pc:sldMkLst>
        <pc:spChg chg="add del mod ord">
          <ac:chgData name="Waleska Crowe" userId="3d8b9f63d04a443d" providerId="LiveId" clId="{6916D134-3C37-4140-9E51-EE242C413745}" dt="2023-06-13T01:18:08.101" v="575" actId="478"/>
          <ac:spMkLst>
            <pc:docMk/>
            <pc:sldMk cId="233545330" sldId="425"/>
            <ac:spMk id="5" creationId="{9806D692-88F5-FAB1-D7E3-5E50CC47CDC9}"/>
          </ac:spMkLst>
        </pc:spChg>
        <pc:spChg chg="add mod ord">
          <ac:chgData name="Waleska Crowe" userId="3d8b9f63d04a443d" providerId="LiveId" clId="{6916D134-3C37-4140-9E51-EE242C413745}" dt="2023-06-13T01:33:13.430" v="758" actId="207"/>
          <ac:spMkLst>
            <pc:docMk/>
            <pc:sldMk cId="233545330" sldId="425"/>
            <ac:spMk id="6" creationId="{B055CA43-E503-06DE-D5B0-91B475F851E9}"/>
          </ac:spMkLst>
        </pc:spChg>
        <pc:spChg chg="add del mod ord">
          <ac:chgData name="Waleska Crowe" userId="3d8b9f63d04a443d" providerId="LiveId" clId="{6916D134-3C37-4140-9E51-EE242C413745}" dt="2023-06-13T01:17:34.228" v="568"/>
          <ac:spMkLst>
            <pc:docMk/>
            <pc:sldMk cId="233545330" sldId="425"/>
            <ac:spMk id="7" creationId="{4832A7CE-E4B4-2139-FB20-2B7423B8DEE5}"/>
          </ac:spMkLst>
        </pc:spChg>
        <pc:spChg chg="add mod ord">
          <ac:chgData name="Waleska Crowe" userId="3d8b9f63d04a443d" providerId="LiveId" clId="{6916D134-3C37-4140-9E51-EE242C413745}" dt="2023-06-13T01:33:18.300" v="759" actId="207"/>
          <ac:spMkLst>
            <pc:docMk/>
            <pc:sldMk cId="233545330" sldId="425"/>
            <ac:spMk id="8" creationId="{7E7384E2-FFEC-395D-6AF1-40B260A85C83}"/>
          </ac:spMkLst>
        </pc:spChg>
        <pc:spChg chg="add del mod ord">
          <ac:chgData name="Waleska Crowe" userId="3d8b9f63d04a443d" providerId="LiveId" clId="{6916D134-3C37-4140-9E51-EE242C413745}" dt="2023-06-13T01:18:20.622" v="577"/>
          <ac:spMkLst>
            <pc:docMk/>
            <pc:sldMk cId="233545330" sldId="425"/>
            <ac:spMk id="9" creationId="{13BF9D79-6D65-3248-3609-0DEE5247A2FE}"/>
          </ac:spMkLst>
        </pc:spChg>
        <pc:picChg chg="add del mod">
          <ac:chgData name="Waleska Crowe" userId="3d8b9f63d04a443d" providerId="LiveId" clId="{6916D134-3C37-4140-9E51-EE242C413745}" dt="2023-06-13T01:17:10.536" v="565"/>
          <ac:picMkLst>
            <pc:docMk/>
            <pc:sldMk cId="233545330" sldId="425"/>
            <ac:picMk id="2" creationId="{A74AA664-A8AC-3B9E-6926-D2C0EC94AF3C}"/>
          </ac:picMkLst>
        </pc:picChg>
        <pc:picChg chg="add mod">
          <ac:chgData name="Waleska Crowe" userId="3d8b9f63d04a443d" providerId="LiveId" clId="{6916D134-3C37-4140-9E51-EE242C413745}" dt="2023-06-13T01:17:47.469" v="572" actId="14100"/>
          <ac:picMkLst>
            <pc:docMk/>
            <pc:sldMk cId="233545330" sldId="425"/>
            <ac:picMk id="10" creationId="{29885932-A2CD-404D-2BF1-8491B5C68289}"/>
          </ac:picMkLst>
        </pc:picChg>
        <pc:picChg chg="add mod">
          <ac:chgData name="Waleska Crowe" userId="3d8b9f63d04a443d" providerId="LiveId" clId="{6916D134-3C37-4140-9E51-EE242C413745}" dt="2023-06-13T01:18:20.622" v="577"/>
          <ac:picMkLst>
            <pc:docMk/>
            <pc:sldMk cId="233545330" sldId="425"/>
            <ac:picMk id="11" creationId="{9B5C99F0-F538-D47F-C892-944CF291DAE2}"/>
          </ac:picMkLst>
        </pc:picChg>
      </pc:sldChg>
      <pc:sldChg chg="addSp modSp add mod">
        <pc:chgData name="Waleska Crowe" userId="3d8b9f63d04a443d" providerId="LiveId" clId="{6916D134-3C37-4140-9E51-EE242C413745}" dt="2023-06-13T01:16:21.563" v="559" actId="1076"/>
        <pc:sldMkLst>
          <pc:docMk/>
          <pc:sldMk cId="2650558338" sldId="426"/>
        </pc:sldMkLst>
        <pc:picChg chg="add mod">
          <ac:chgData name="Waleska Crowe" userId="3d8b9f63d04a443d" providerId="LiveId" clId="{6916D134-3C37-4140-9E51-EE242C413745}" dt="2023-06-13T01:16:21.563" v="559" actId="1076"/>
          <ac:picMkLst>
            <pc:docMk/>
            <pc:sldMk cId="2650558338" sldId="426"/>
            <ac:picMk id="2" creationId="{3125782A-DE7F-8DA1-9E20-8B9FB6A50278}"/>
          </ac:picMkLst>
        </pc:picChg>
      </pc:sldChg>
      <pc:sldChg chg="addSp modSp add mod">
        <pc:chgData name="Waleska Crowe" userId="3d8b9f63d04a443d" providerId="LiveId" clId="{6916D134-3C37-4140-9E51-EE242C413745}" dt="2023-06-13T01:33:45.642" v="763" actId="113"/>
        <pc:sldMkLst>
          <pc:docMk/>
          <pc:sldMk cId="517906672" sldId="427"/>
        </pc:sldMkLst>
        <pc:spChg chg="add mod">
          <ac:chgData name="Waleska Crowe" userId="3d8b9f63d04a443d" providerId="LiveId" clId="{6916D134-3C37-4140-9E51-EE242C413745}" dt="2023-06-13T01:33:45.642" v="763" actId="113"/>
          <ac:spMkLst>
            <pc:docMk/>
            <pc:sldMk cId="517906672" sldId="427"/>
            <ac:spMk id="5" creationId="{B9BDEAF6-EACD-A59A-7168-DEF688747315}"/>
          </ac:spMkLst>
        </pc:spChg>
        <pc:picChg chg="add mod">
          <ac:chgData name="Waleska Crowe" userId="3d8b9f63d04a443d" providerId="LiveId" clId="{6916D134-3C37-4140-9E51-EE242C413745}" dt="2023-06-13T01:21:28.696" v="590"/>
          <ac:picMkLst>
            <pc:docMk/>
            <pc:sldMk cId="517906672" sldId="427"/>
            <ac:picMk id="6" creationId="{4013607A-A499-DE7A-C3AD-1CF0B52D3DA4}"/>
          </ac:picMkLst>
        </pc:picChg>
      </pc:sldChg>
      <pc:sldChg chg="addSp delSp modSp add del mod ord modClrScheme chgLayout">
        <pc:chgData name="Waleska Crowe" userId="3d8b9f63d04a443d" providerId="LiveId" clId="{6916D134-3C37-4140-9E51-EE242C413745}" dt="2023-06-13T01:27:16.909" v="700" actId="47"/>
        <pc:sldMkLst>
          <pc:docMk/>
          <pc:sldMk cId="3938476904" sldId="428"/>
        </pc:sldMkLst>
        <pc:spChg chg="del mod">
          <ac:chgData name="Waleska Crowe" userId="3d8b9f63d04a443d" providerId="LiveId" clId="{6916D134-3C37-4140-9E51-EE242C413745}" dt="2023-06-13T01:27:00.325" v="699" actId="478"/>
          <ac:spMkLst>
            <pc:docMk/>
            <pc:sldMk cId="3938476904" sldId="428"/>
            <ac:spMk id="3" creationId="{58D01ED7-3BAA-4032-BB04-FBC862F6F5A3}"/>
          </ac:spMkLst>
        </pc:spChg>
        <pc:spChg chg="add mod ord">
          <ac:chgData name="Waleska Crowe" userId="3d8b9f63d04a443d" providerId="LiveId" clId="{6916D134-3C37-4140-9E51-EE242C413745}" dt="2023-06-13T01:26:56.666" v="698" actId="700"/>
          <ac:spMkLst>
            <pc:docMk/>
            <pc:sldMk cId="3938476904" sldId="428"/>
            <ac:spMk id="5" creationId="{B54F707E-229D-36AC-9ECD-6EAFB96870BB}"/>
          </ac:spMkLst>
        </pc:spChg>
        <pc:spChg chg="add mod ord">
          <ac:chgData name="Waleska Crowe" userId="3d8b9f63d04a443d" providerId="LiveId" clId="{6916D134-3C37-4140-9E51-EE242C413745}" dt="2023-06-13T01:26:56.666" v="698" actId="700"/>
          <ac:spMkLst>
            <pc:docMk/>
            <pc:sldMk cId="3938476904" sldId="428"/>
            <ac:spMk id="6" creationId="{D6347864-E65A-1094-FB74-F96C79E5EA05}"/>
          </ac:spMkLst>
        </pc:spChg>
        <pc:picChg chg="del">
          <ac:chgData name="Waleska Crowe" userId="3d8b9f63d04a443d" providerId="LiveId" clId="{6916D134-3C37-4140-9E51-EE242C413745}" dt="2023-06-13T01:22:02.326" v="593" actId="478"/>
          <ac:picMkLst>
            <pc:docMk/>
            <pc:sldMk cId="3938476904" sldId="428"/>
            <ac:picMk id="2" creationId="{43B9EC25-4E1A-5308-8685-069338921BF8}"/>
          </ac:picMkLst>
        </pc:picChg>
      </pc:sldChg>
      <pc:sldChg chg="addSp modSp add mod ord">
        <pc:chgData name="Waleska Crowe" userId="3d8b9f63d04a443d" providerId="LiveId" clId="{6916D134-3C37-4140-9E51-EE242C413745}" dt="2023-06-13T01:40:28.935" v="812" actId="20577"/>
        <pc:sldMkLst>
          <pc:docMk/>
          <pc:sldMk cId="1300622886" sldId="429"/>
        </pc:sldMkLst>
        <pc:spChg chg="mod">
          <ac:chgData name="Waleska Crowe" userId="3d8b9f63d04a443d" providerId="LiveId" clId="{6916D134-3C37-4140-9E51-EE242C413745}" dt="2023-06-13T01:25:44.355" v="682" actId="20577"/>
          <ac:spMkLst>
            <pc:docMk/>
            <pc:sldMk cId="1300622886" sldId="429"/>
            <ac:spMk id="3" creationId="{58D01ED7-3BAA-4032-BB04-FBC862F6F5A3}"/>
          </ac:spMkLst>
        </pc:spChg>
        <pc:spChg chg="mod">
          <ac:chgData name="Waleska Crowe" userId="3d8b9f63d04a443d" providerId="LiveId" clId="{6916D134-3C37-4140-9E51-EE242C413745}" dt="2023-06-13T01:26:06.995" v="683" actId="14100"/>
          <ac:spMkLst>
            <pc:docMk/>
            <pc:sldMk cId="1300622886" sldId="429"/>
            <ac:spMk id="4" creationId="{BA809BD1-52EB-462E-94EC-777C2FCC4F2B}"/>
          </ac:spMkLst>
        </pc:spChg>
        <pc:spChg chg="add mod">
          <ac:chgData name="Waleska Crowe" userId="3d8b9f63d04a443d" providerId="LiveId" clId="{6916D134-3C37-4140-9E51-EE242C413745}" dt="2023-06-13T01:40:28.935" v="812" actId="20577"/>
          <ac:spMkLst>
            <pc:docMk/>
            <pc:sldMk cId="1300622886" sldId="429"/>
            <ac:spMk id="5" creationId="{41B91DA0-7E60-1B36-50BD-8F74F7DE364F}"/>
          </ac:spMkLst>
        </pc:spChg>
      </pc:sldChg>
      <pc:sldChg chg="addSp delSp modSp add mod modClrScheme chgLayout">
        <pc:chgData name="Waleska Crowe" userId="3d8b9f63d04a443d" providerId="LiveId" clId="{6916D134-3C37-4140-9E51-EE242C413745}" dt="2023-06-13T01:34:04.584" v="765" actId="207"/>
        <pc:sldMkLst>
          <pc:docMk/>
          <pc:sldMk cId="1569835576" sldId="430"/>
        </pc:sldMkLst>
        <pc:spChg chg="mod">
          <ac:chgData name="Waleska Crowe" userId="3d8b9f63d04a443d" providerId="LiveId" clId="{6916D134-3C37-4140-9E51-EE242C413745}" dt="2023-06-13T01:23:17.816" v="627" actId="20577"/>
          <ac:spMkLst>
            <pc:docMk/>
            <pc:sldMk cId="1569835576" sldId="430"/>
            <ac:spMk id="3" creationId="{58D01ED7-3BAA-4032-BB04-FBC862F6F5A3}"/>
          </ac:spMkLst>
        </pc:spChg>
        <pc:spChg chg="add del">
          <ac:chgData name="Waleska Crowe" userId="3d8b9f63d04a443d" providerId="LiveId" clId="{6916D134-3C37-4140-9E51-EE242C413745}" dt="2023-06-13T01:22:44.396" v="599" actId="478"/>
          <ac:spMkLst>
            <pc:docMk/>
            <pc:sldMk cId="1569835576" sldId="430"/>
            <ac:spMk id="5" creationId="{7F88237F-2672-012E-D879-5C0A1C6B3762}"/>
          </ac:spMkLst>
        </pc:spChg>
        <pc:spChg chg="add del mod ord">
          <ac:chgData name="Waleska Crowe" userId="3d8b9f63d04a443d" providerId="LiveId" clId="{6916D134-3C37-4140-9E51-EE242C413745}" dt="2023-06-13T01:23:57.011" v="629" actId="478"/>
          <ac:spMkLst>
            <pc:docMk/>
            <pc:sldMk cId="1569835576" sldId="430"/>
            <ac:spMk id="6" creationId="{DA354AE1-72F4-4BDB-B736-E695F3FF764A}"/>
          </ac:spMkLst>
        </pc:spChg>
        <pc:spChg chg="add mod ord">
          <ac:chgData name="Waleska Crowe" userId="3d8b9f63d04a443d" providerId="LiveId" clId="{6916D134-3C37-4140-9E51-EE242C413745}" dt="2023-06-13T01:34:01.510" v="764" actId="207"/>
          <ac:spMkLst>
            <pc:docMk/>
            <pc:sldMk cId="1569835576" sldId="430"/>
            <ac:spMk id="7" creationId="{EB8CF68A-F8D2-2EFD-B873-C2ABB5E0C230}"/>
          </ac:spMkLst>
        </pc:spChg>
        <pc:spChg chg="add del mod ord">
          <ac:chgData name="Waleska Crowe" userId="3d8b9f63d04a443d" providerId="LiveId" clId="{6916D134-3C37-4140-9E51-EE242C413745}" dt="2023-06-13T01:24:08.736" v="631"/>
          <ac:spMkLst>
            <pc:docMk/>
            <pc:sldMk cId="1569835576" sldId="430"/>
            <ac:spMk id="8" creationId="{8B89EA66-BD41-87DC-7A94-8DB59C8FC06C}"/>
          </ac:spMkLst>
        </pc:spChg>
        <pc:spChg chg="add mod ord">
          <ac:chgData name="Waleska Crowe" userId="3d8b9f63d04a443d" providerId="LiveId" clId="{6916D134-3C37-4140-9E51-EE242C413745}" dt="2023-06-13T01:34:04.584" v="765" actId="207"/>
          <ac:spMkLst>
            <pc:docMk/>
            <pc:sldMk cId="1569835576" sldId="430"/>
            <ac:spMk id="9" creationId="{A1B2B9AB-5612-758E-8AAC-3DE7293B18BE}"/>
          </ac:spMkLst>
        </pc:spChg>
        <pc:spChg chg="add del mod ord">
          <ac:chgData name="Waleska Crowe" userId="3d8b9f63d04a443d" providerId="LiveId" clId="{6916D134-3C37-4140-9E51-EE242C413745}" dt="2023-06-13T01:24:21.192" v="633"/>
          <ac:spMkLst>
            <pc:docMk/>
            <pc:sldMk cId="1569835576" sldId="430"/>
            <ac:spMk id="10" creationId="{620560A1-1690-DF92-7125-57EE5A35EAEC}"/>
          </ac:spMkLst>
        </pc:spChg>
        <pc:picChg chg="add mod">
          <ac:chgData name="Waleska Crowe" userId="3d8b9f63d04a443d" providerId="LiveId" clId="{6916D134-3C37-4140-9E51-EE242C413745}" dt="2023-06-13T01:24:08.736" v="631"/>
          <ac:picMkLst>
            <pc:docMk/>
            <pc:sldMk cId="1569835576" sldId="430"/>
            <ac:picMk id="11" creationId="{B2EF4930-D6C8-40C5-77A2-E171D0AF1D4F}"/>
          </ac:picMkLst>
        </pc:picChg>
        <pc:picChg chg="add mod">
          <ac:chgData name="Waleska Crowe" userId="3d8b9f63d04a443d" providerId="LiveId" clId="{6916D134-3C37-4140-9E51-EE242C413745}" dt="2023-06-13T01:24:21.192" v="633"/>
          <ac:picMkLst>
            <pc:docMk/>
            <pc:sldMk cId="1569835576" sldId="430"/>
            <ac:picMk id="12" creationId="{6DED3F7E-33DD-431D-3DAB-9AE8554302F6}"/>
          </ac:picMkLst>
        </pc:picChg>
      </pc:sldChg>
      <pc:sldChg chg="new del">
        <pc:chgData name="Waleska Crowe" userId="3d8b9f63d04a443d" providerId="LiveId" clId="{6916D134-3C37-4140-9E51-EE242C413745}" dt="2023-06-13T01:29:36.429" v="713" actId="47"/>
        <pc:sldMkLst>
          <pc:docMk/>
          <pc:sldMk cId="720415729" sldId="431"/>
        </pc:sldMkLst>
      </pc:sldChg>
      <pc:sldChg chg="new del">
        <pc:chgData name="Waleska Crowe" userId="3d8b9f63d04a443d" providerId="LiveId" clId="{6916D134-3C37-4140-9E51-EE242C413745}" dt="2023-06-13T01:28:02.263" v="705" actId="47"/>
        <pc:sldMkLst>
          <pc:docMk/>
          <pc:sldMk cId="1409283115" sldId="431"/>
        </pc:sldMkLst>
      </pc:sldChg>
      <pc:sldChg chg="new del">
        <pc:chgData name="Waleska Crowe" userId="3d8b9f63d04a443d" providerId="LiveId" clId="{6916D134-3C37-4140-9E51-EE242C413745}" dt="2023-06-13T01:27:54.846" v="702" actId="47"/>
        <pc:sldMkLst>
          <pc:docMk/>
          <pc:sldMk cId="3230547781" sldId="431"/>
        </pc:sldMkLst>
      </pc:sldChg>
      <pc:sldChg chg="add del">
        <pc:chgData name="Waleska Crowe" userId="3d8b9f63d04a443d" providerId="LiveId" clId="{6916D134-3C37-4140-9E51-EE242C413745}" dt="2023-06-13T01:29:13.169" v="711" actId="47"/>
        <pc:sldMkLst>
          <pc:docMk/>
          <pc:sldMk cId="32752592" sldId="432"/>
        </pc:sldMkLst>
      </pc:sldChg>
      <pc:sldMasterChg chg="delSldLayout">
        <pc:chgData name="Waleska Crowe" userId="3d8b9f63d04a443d" providerId="LiveId" clId="{6916D134-3C37-4140-9E51-EE242C413745}" dt="2023-06-13T01:01:34.869" v="345" actId="47"/>
        <pc:sldMasterMkLst>
          <pc:docMk/>
          <pc:sldMasterMk cId="1340059997" sldId="2147483648"/>
        </pc:sldMasterMkLst>
        <pc:sldLayoutChg chg="del">
          <pc:chgData name="Waleska Crowe" userId="3d8b9f63d04a443d" providerId="LiveId" clId="{6916D134-3C37-4140-9E51-EE242C413745}" dt="2023-06-13T01:01:34.869" v="345" actId="47"/>
          <pc:sldLayoutMkLst>
            <pc:docMk/>
            <pc:sldMasterMk cId="1340059997" sldId="2147483648"/>
            <pc:sldLayoutMk cId="59790499" sldId="2147483660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85F1CD-2608-4A8E-A24E-C688D781209C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4E34B2-2F5F-4476-B029-C0980DED45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1477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>
            <a:extLst>
              <a:ext uri="{FF2B5EF4-FFF2-40B4-BE49-F238E27FC236}">
                <a16:creationId xmlns:a16="http://schemas.microsoft.com/office/drawing/2014/main" id="{3D8F5BF0-DED6-4FFC-8244-132CF852CCD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9138" y="1163638"/>
            <a:ext cx="5584825" cy="31416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>
            <a:extLst>
              <a:ext uri="{FF2B5EF4-FFF2-40B4-BE49-F238E27FC236}">
                <a16:creationId xmlns:a16="http://schemas.microsoft.com/office/drawing/2014/main" id="{74212727-6AC3-4B13-9FAE-D9B80E0707E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dirty="0"/>
              <a:t>Conditions such as this are common in too many countries in the developing world—little wonder the corona virus is taking such a toll</a:t>
            </a:r>
          </a:p>
        </p:txBody>
      </p:sp>
      <p:sp>
        <p:nvSpPr>
          <p:cNvPr id="16388" name="Slide Number Placeholder 3">
            <a:extLst>
              <a:ext uri="{FF2B5EF4-FFF2-40B4-BE49-F238E27FC236}">
                <a16:creationId xmlns:a16="http://schemas.microsoft.com/office/drawing/2014/main" id="{CEE06657-362C-4694-A092-092C80071C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BE8455-3C83-43F5-B583-FC69FFFAC0C4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ter service is unreliable and interrup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3158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455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ter service is unreliable and interrup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6456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ter service is unreliable and interrup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328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ter service is unreliable and interrup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43404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ter service is unreliable and interrup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15083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ter service is unreliable and interrup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1735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ter service is unreliable and interrup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91723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ter service is unreliable and interrup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00515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ter service is unreliable and interrup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2700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050B93-C9D9-DFCA-CAFB-2252D4FB74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9995694-F14A-FF4E-E200-D148ED44FF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459A9C-B984-D708-62F6-AD6A18C52B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35F431-2827-4A04-BC94-68747CE40726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FDA999-F9E7-9611-F45A-26C8C252D0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EF9BF4-E588-C6D4-7F48-DD6F9152D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3AADC-6B42-4491-B4F1-E10B2158B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7837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ADF15-E718-9905-15D1-C1301761A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0F975E-0B67-9902-E217-C98285AD6B6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FBB3FC-0FBF-C470-4638-79997BF7CC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35F431-2827-4A04-BC94-68747CE40726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62C87C-C51E-F009-E2EE-EC3BDF62E2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230A47-C432-0700-8ABB-F3768AFA0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3AADC-6B42-4491-B4F1-E10B2158B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4378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B91BFBE-2465-AECA-902B-B06C78CE99F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E436F38-9962-3DB4-6F0D-14BCE907145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B462CA-8D6F-D0D6-2EE5-418D8F3441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35F431-2827-4A04-BC94-68747CE40726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CB9018-D36F-FA05-A334-7FBC4F3BA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A99689-5F46-2B77-B10B-610C2C5419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3AADC-6B42-4491-B4F1-E10B2158B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324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81724" y="6356352"/>
            <a:ext cx="532453" cy="365125"/>
          </a:xfrm>
        </p:spPr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36531CC-30CE-B948-95A0-8AD023F59F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9001"/>
            <a:ext cx="4732781" cy="351282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16C1971-F6E3-894F-9D00-E7B1528AA8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6735" y="5832433"/>
            <a:ext cx="4094989" cy="104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531186"/>
      </p:ext>
    </p:extLst>
  </p:cSld>
  <p:clrMapOvr>
    <a:masterClrMapping/>
  </p:clrMapOvr>
  <p:transition spd="slow">
    <p:wip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81724" y="6356352"/>
            <a:ext cx="532453" cy="365125"/>
          </a:xfrm>
        </p:spPr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36531CC-30CE-B948-95A0-8AD023F59F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9001"/>
            <a:ext cx="4732781" cy="351282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16C1971-F6E3-894F-9D00-E7B1528AA8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6735" y="5832433"/>
            <a:ext cx="4094989" cy="104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753694"/>
      </p:ext>
    </p:extLst>
  </p:cSld>
  <p:clrMapOvr>
    <a:masterClrMapping/>
  </p:clrMapOvr>
  <p:transition spd="slow">
    <p:wip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1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0223533"/>
      </p:ext>
    </p:extLst>
  </p:cSld>
  <p:clrMapOvr>
    <a:masterClrMapping/>
  </p:clrMapOvr>
  <p:transition spd="slow">
    <p:wip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1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188422"/>
      </p:ext>
    </p:extLst>
  </p:cSld>
  <p:clrMapOvr>
    <a:masterClrMapping/>
  </p:clrMapOvr>
  <p:transition spd="slow">
    <p:wip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1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5151127"/>
      </p:ext>
    </p:extLst>
  </p:cSld>
  <p:clrMapOvr>
    <a:masterClrMapping/>
  </p:clrMapOvr>
  <p:transition spd="slow">
    <p:wip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13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188035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13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960665"/>
      </p:ext>
    </p:extLst>
  </p:cSld>
  <p:clrMapOvr>
    <a:masterClrMapping/>
  </p:clrMapOvr>
  <p:transition spd="slow">
    <p:wip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13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4267258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82D067-D7D1-5C53-1B7E-A64CEB8913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D04479-3E17-A1F0-CB1D-86C4BC0DFF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995CCE-0946-AD85-A3EC-3F14052112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35F431-2827-4A04-BC94-68747CE40726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E4086B-34DA-9956-B0D0-71E1B2B971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4D7C30-9637-E50C-3BA7-49EAC4EEF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3AADC-6B42-4491-B4F1-E10B2158B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9680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1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39972"/>
      </p:ext>
    </p:extLst>
  </p:cSld>
  <p:clrMapOvr>
    <a:masterClrMapping/>
  </p:clrMapOvr>
  <p:transition spd="slow">
    <p:wip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1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1750293"/>
      </p:ext>
    </p:extLst>
  </p:cSld>
  <p:clrMapOvr>
    <a:masterClrMapping/>
  </p:clrMapOvr>
  <p:transition spd="slow">
    <p:wip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1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711274"/>
      </p:ext>
    </p:extLst>
  </p:cSld>
  <p:clrMapOvr>
    <a:masterClrMapping/>
  </p:clrMapOvr>
  <p:transition spd="slow">
    <p:wip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1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681731"/>
      </p:ext>
    </p:extLst>
  </p:cSld>
  <p:clrMapOvr>
    <a:masterClrMapping/>
  </p:clrMapOvr>
  <p:transition spd="slow">
    <p:wip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TK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3" hidden="1">
            <a:extLst>
              <a:ext uri="{FF2B5EF4-FFF2-40B4-BE49-F238E27FC236}">
                <a16:creationId xmlns:a16="http://schemas.microsoft.com/office/drawing/2014/main" id="{CAD64C2E-93D6-4AF8-B7ED-1CC4893512F1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9" y="1591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D2EA9AC-786B-4AE1-8091-61B68238BB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3300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6400" y="2091601"/>
            <a:ext cx="11531600" cy="1844608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ES_tradnl" dirty="0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C8F2630A-BD6E-4A3A-8A82-BBA3DBDE2B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3142A1-7031-4714-82B7-722221E18CC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2" name="Footer Placeholder 7">
            <a:extLst>
              <a:ext uri="{FF2B5EF4-FFF2-40B4-BE49-F238E27FC236}">
                <a16:creationId xmlns:a16="http://schemas.microsoft.com/office/drawing/2014/main" id="{79D1434A-4479-4DF9-A40D-D855102F1B4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666317" y="6248403"/>
            <a:ext cx="5325533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#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8363EEF-9B51-5944-9254-ECE7BEDB1C7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74" y="133746"/>
            <a:ext cx="5802327" cy="148471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25D296D-46AE-6149-A037-5EF0C3978D1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1046" y="3429000"/>
            <a:ext cx="4805783" cy="3602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613797"/>
      </p:ext>
    </p:extLst>
  </p:cSld>
  <p:clrMapOvr>
    <a:masterClrMapping/>
  </p:clrMapOvr>
  <p:transition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242F88-1FC6-DD8E-2587-B967BA5D3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B1B605-EC93-2CCE-8269-16A6271C1A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896299-A5A7-A867-BD54-813CECF8F8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35F431-2827-4A04-BC94-68747CE40726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A4F218-C7E7-EC55-2109-7E174227CA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BE5A0-8C88-B534-E309-3406C467C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3AADC-6B42-4491-B4F1-E10B2158B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6355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9666C-0E40-A2F6-BA3E-558005DC1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295F4D-5DF9-928C-2ECA-D2B38E157A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9D389E-4EEA-82A9-B6CA-0E87A3849E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C5C814-7BD6-FAAA-0AC3-E313AF549F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35F431-2827-4A04-BC94-68747CE40726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DBD200-9F25-AE6F-11BE-A9B8B369B5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889BB6-61C1-B0FD-6CD5-62C864675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3AADC-6B42-4491-B4F1-E10B2158B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33399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D2ABB3-8C9C-A72F-1BCE-4BD6B90B1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E94742-87A8-D362-0499-E6792532CC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B0468A-E165-3166-24AF-61E77E1872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F668E3-337C-A4E5-CE6C-1EF6B2A782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8FC7051-B972-D2BD-61D1-8099D69BF8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BC01E92-649F-075A-D2EA-CEA81350B7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35F431-2827-4A04-BC94-68747CE40726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72E1A2-9DC2-AA96-4DD4-58167F79C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DEC1B-63DE-F831-638F-5F3167EBA8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3AADC-6B42-4491-B4F1-E10B2158B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7187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CD4569-6DEA-0303-ACD7-125A7BC58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AD9CA44-88D8-280A-08E3-A1AE30CC41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35F431-2827-4A04-BC94-68747CE40726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BC8609-B01C-E375-43EC-D0520E0F82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B23D22-1DC4-3594-1309-8F21DD1FBB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3AADC-6B42-4491-B4F1-E10B2158B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40305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3627E8-EC63-924A-19B9-1B0BAA926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35F431-2827-4A04-BC94-68747CE40726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04F273-2452-CC1C-09BD-1529D28141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E1392F-4183-4347-C6C3-12C7F92B7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3AADC-6B42-4491-B4F1-E10B2158B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94029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C913EA-1228-2642-772A-3BC70E28C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176B35-6D1E-AF8F-9C0D-9FD7631B0B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A491DC-1263-FE5A-3170-19F2C48001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3FB707-C391-DFD5-908D-D74BA34A7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35F431-2827-4A04-BC94-68747CE40726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01DC37-9910-5730-129A-44DD5B9BF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B702F5-9E60-5B6F-6C0F-B3F84A913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3AADC-6B42-4491-B4F1-E10B2158B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4418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42BD41-A14E-A381-89CC-752A2EF8E4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A250A67-3FD3-9B03-1827-D45B830BBF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7D464C-4D80-33BE-D8A7-35980461B5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92BB2F-6E5F-82B2-824A-204532ECD8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35F431-2827-4A04-BC94-68747CE40726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AC74CF-F294-A1C8-AB94-108044E453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DF50D2-0FE6-FE17-317D-0AEFF5F457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E3AADC-6B42-4491-B4F1-E10B2158B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555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65599FB-A834-BFD9-FA23-D0F3E8DEE3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202603-ACC9-34BA-EB97-9D672E7E5A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C0FA1D-0D0E-103D-D5AD-610D789FC6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35F431-2827-4A04-BC94-68747CE40726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9362F8-2095-3E54-2BA3-B8F2E63A08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C0E04C-8D80-A8D4-5FF2-527E827979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E3AADC-6B42-4491-B4F1-E10B2158B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059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701DC6-C509-8A4A-B3B4-1C4091C54CB6}" type="datetimeFigureOut">
              <a:rPr lang="en-US" smtClean="0"/>
              <a:t>6/1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03745C-9B08-40A5-B013-407D70C9CC5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8092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ransition spd="slow">
    <p:wip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8.emf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ashinhcf.org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docs.google.com/forms/u/1/d/e/1FAIpQLSdPXvM_KOAS61p-qqeI4IexcDpBZxfsUDKUKhIxyzylnpuDwg/viewform?usp=send_form" TargetMode="External"/><Relationship Id="rId4" Type="http://schemas.openxmlformats.org/officeDocument/2006/relationships/hyperlink" Target="https://www.washinhcf.org/resource/wash-fit-assessment-form-excel/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TextBox 4">
            <a:extLst>
              <a:ext uri="{FF2B5EF4-FFF2-40B4-BE49-F238E27FC236}">
                <a16:creationId xmlns:a16="http://schemas.microsoft.com/office/drawing/2014/main" id="{ED13F15B-A93F-4B42-8148-E3E2E8A056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2328" y="3484786"/>
            <a:ext cx="3746436" cy="90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70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"/>
              <a:defRPr sz="2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ts val="55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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ts val="500"/>
              </a:spcBef>
              <a:buClr>
                <a:schemeClr val="accent2"/>
              </a:buClr>
              <a:buSzPct val="75000"/>
              <a:buFont typeface="Wingdings" panose="05000000000000000000" pitchFamily="2" charset="2"/>
              <a:buChar char="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A5AB81"/>
              </a:buClr>
              <a:buSzPct val="7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ct val="0"/>
              </a:spcBef>
              <a:buClrTx/>
              <a:buSzTx/>
              <a:buNone/>
            </a:pPr>
            <a:r>
              <a:rPr lang="en-US" altLang="en-US" sz="1800" b="1" dirty="0">
                <a:solidFill>
                  <a:srgbClr val="FAAF3C"/>
                </a:solidFill>
                <a:latin typeface="Calibri" panose="020F0502020204030204"/>
              </a:rPr>
              <a:t>Waleska Crowe</a:t>
            </a:r>
            <a:br>
              <a:rPr lang="en-US" altLang="en-US" sz="1800" dirty="0">
                <a:solidFill>
                  <a:srgbClr val="FAAF3C"/>
                </a:solidFill>
                <a:latin typeface="Calibri" panose="020F0502020204030204"/>
              </a:rPr>
            </a:br>
            <a:endParaRPr lang="en-US" altLang="en-US" sz="1800" dirty="0">
              <a:solidFill>
                <a:srgbClr val="FAAF3C"/>
              </a:solidFill>
              <a:latin typeface="Calibri" panose="020F0502020204030204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AC1BDC-5708-2342-BC17-A67F1B0EDA67}"/>
              </a:ext>
            </a:extLst>
          </p:cNvPr>
          <p:cNvSpPr/>
          <p:nvPr/>
        </p:nvSpPr>
        <p:spPr>
          <a:xfrm>
            <a:off x="1524000" y="0"/>
            <a:ext cx="9144000" cy="3185756"/>
          </a:xfrm>
          <a:prstGeom prst="rect">
            <a:avLst/>
          </a:prstGeom>
          <a:solidFill>
            <a:srgbClr val="2A5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AFF51CE-9356-8F47-A6DF-1DAD62072D4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0452" y="5693587"/>
            <a:ext cx="3085228" cy="105260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74246EE-2D2E-FF42-A710-C2E8F4DBCC0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2328" y="4385995"/>
            <a:ext cx="2616346" cy="261518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99096AA-0B35-1146-820F-1AB0EEB3ACD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17000"/>
          </a:blip>
          <a:stretch>
            <a:fillRect/>
          </a:stretch>
        </p:blipFill>
        <p:spPr>
          <a:xfrm>
            <a:off x="1041335" y="70810"/>
            <a:ext cx="3760469" cy="3008375"/>
          </a:xfrm>
          <a:prstGeom prst="rect">
            <a:avLst/>
          </a:prstGeom>
        </p:spPr>
      </p:pic>
      <p:sp>
        <p:nvSpPr>
          <p:cNvPr id="15364" name="TextBox 15">
            <a:extLst>
              <a:ext uri="{FF2B5EF4-FFF2-40B4-BE49-F238E27FC236}">
                <a16:creationId xmlns:a16="http://schemas.microsoft.com/office/drawing/2014/main" id="{FC2207E6-2DC2-4EE8-91E7-BBF301FC35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73474" y="808049"/>
            <a:ext cx="7845053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>
            <a:spAutoFit/>
          </a:bodyPr>
          <a:lstStyle>
            <a:lvl1pPr>
              <a:spcBef>
                <a:spcPts val="70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"/>
              <a:defRPr sz="2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ts val="55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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ts val="500"/>
              </a:spcBef>
              <a:buClr>
                <a:schemeClr val="accent2"/>
              </a:buClr>
              <a:buSzPct val="75000"/>
              <a:buFont typeface="Wingdings" panose="05000000000000000000" pitchFamily="2" charset="2"/>
              <a:buChar char="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A5AB81"/>
              </a:buClr>
              <a:buSzPct val="7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spcBef>
                <a:spcPts val="0"/>
              </a:spcBef>
              <a:buClrTx/>
              <a:buSzTx/>
              <a:buNone/>
            </a:pPr>
            <a:r>
              <a:rPr lang="en-US" sz="5400" dirty="0">
                <a:solidFill>
                  <a:schemeClr val="bg1"/>
                </a:solidFill>
              </a:rPr>
              <a:t>Tools and Resources for WASH in HCF</a:t>
            </a:r>
            <a:endParaRPr lang="en-US" altLang="en-US" sz="5400" b="1" dirty="0">
              <a:solidFill>
                <a:schemeClr val="bg1"/>
              </a:solidFill>
              <a:latin typeface="Calibri" panose="020F0502020204030204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8D01ED7-3BAA-4032-BB04-FBC862F6F5A3}"/>
              </a:ext>
            </a:extLst>
          </p:cNvPr>
          <p:cNvSpPr txBox="1">
            <a:spLocks/>
          </p:cNvSpPr>
          <p:nvPr/>
        </p:nvSpPr>
        <p:spPr>
          <a:xfrm>
            <a:off x="1239520" y="644651"/>
            <a:ext cx="9712960" cy="101155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accent1"/>
                </a:solidFill>
                <a:latin typeface="+mn-lt"/>
              </a:rPr>
              <a:t>Other Resourc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809BD1-52EB-462E-94EC-777C2FCC4F2B}"/>
              </a:ext>
            </a:extLst>
          </p:cNvPr>
          <p:cNvSpPr txBox="1">
            <a:spLocks/>
          </p:cNvSpPr>
          <p:nvPr/>
        </p:nvSpPr>
        <p:spPr>
          <a:xfrm>
            <a:off x="1645920" y="1656206"/>
            <a:ext cx="8627663" cy="408358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endParaRPr lang="en-US"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1B91DA0-7E60-1B36-50BD-8F74F7DE364F}"/>
              </a:ext>
            </a:extLst>
          </p:cNvPr>
          <p:cNvSpPr txBox="1"/>
          <p:nvPr/>
        </p:nvSpPr>
        <p:spPr>
          <a:xfrm>
            <a:off x="1918417" y="1310640"/>
            <a:ext cx="8761566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Websites:</a:t>
            </a:r>
          </a:p>
          <a:p>
            <a:r>
              <a:rPr lang="en-US" sz="1800" dirty="0"/>
              <a:t>WHO</a:t>
            </a:r>
          </a:p>
          <a:p>
            <a:r>
              <a:rPr lang="en-US" sz="1800" dirty="0"/>
              <a:t>USAID (Maternal and Child Survival Program)</a:t>
            </a:r>
          </a:p>
          <a:p>
            <a:r>
              <a:rPr lang="en-US" sz="1800" dirty="0"/>
              <a:t>CDC  </a:t>
            </a:r>
          </a:p>
          <a:p>
            <a:r>
              <a:rPr lang="en-US" sz="1800" dirty="0"/>
              <a:t>UNICEF </a:t>
            </a:r>
          </a:p>
          <a:p>
            <a:endParaRPr lang="en-US" dirty="0">
              <a:hlinkClick r:id="rId3"/>
            </a:endParaRPr>
          </a:p>
          <a:p>
            <a:r>
              <a:rPr lang="en-US" sz="1800" dirty="0">
                <a:hlinkClick r:id="rId3"/>
              </a:rPr>
              <a:t>https://www.washinhcf.org/</a:t>
            </a: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r>
              <a:rPr lang="en-US" sz="1800" dirty="0"/>
              <a:t>Download WASH FIT Excel form here:</a:t>
            </a:r>
          </a:p>
          <a:p>
            <a:pPr marL="0" indent="0">
              <a:buNone/>
            </a:pPr>
            <a:r>
              <a:rPr lang="en-US" sz="1800" dirty="0">
                <a:hlinkClick r:id="rId4"/>
              </a:rPr>
              <a:t>WASH FIT assessment form (updated February 2022) | WASH in Health Care Facilities (washinhcf.org)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r>
              <a:rPr lang="en-US" sz="2000" b="1" dirty="0"/>
              <a:t>Subscribe  </a:t>
            </a:r>
            <a:r>
              <a:rPr lang="en-US" sz="2000" b="1" dirty="0">
                <a:hlinkClick r:id="rId5"/>
              </a:rPr>
              <a:t>WASH in HCF Community </a:t>
            </a:r>
            <a:r>
              <a:rPr lang="en-US" sz="2000" b="1">
                <a:hlinkClick r:id="rId5"/>
              </a:rPr>
              <a:t>of Practice</a:t>
            </a:r>
            <a:endParaRPr lang="en-US" sz="2000" b="1"/>
          </a:p>
          <a:p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300622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0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6" descr="Work tools and supplies">
            <a:extLst>
              <a:ext uri="{FF2B5EF4-FFF2-40B4-BE49-F238E27FC236}">
                <a16:creationId xmlns:a16="http://schemas.microsoft.com/office/drawing/2014/main" id="{55B0B344-6834-93D4-8ADE-93B9DE92043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EA47603-3562-96B1-B02D-696013E7F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122362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6600" dirty="0">
                <a:solidFill>
                  <a:srgbClr val="FFFFFF"/>
                </a:solidFill>
              </a:rPr>
              <a:t>Let’s use the tools!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049B05-C9B7-D137-709B-1DB2B67213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24000" y="4159404"/>
            <a:ext cx="9144000" cy="1098395"/>
          </a:xfrm>
        </p:spPr>
        <p:txBody>
          <a:bodyPr vert="horz" lIns="91440" tIns="45720" rIns="91440" bIns="45720" rtlCol="0">
            <a:normAutofit fontScale="92500" lnSpcReduction="20000"/>
          </a:bodyPr>
          <a:lstStyle/>
          <a:p>
            <a:endParaRPr lang="en-US" dirty="0">
              <a:solidFill>
                <a:srgbClr val="FFFFFF"/>
              </a:solidFill>
            </a:endParaRPr>
          </a:p>
          <a:p>
            <a:r>
              <a:rPr lang="en-US" dirty="0">
                <a:solidFill>
                  <a:srgbClr val="FFFFFF"/>
                </a:solidFill>
              </a:rPr>
              <a:t>Waleska Crowe</a:t>
            </a:r>
          </a:p>
          <a:p>
            <a:r>
              <a:rPr lang="en-US" dirty="0">
                <a:solidFill>
                  <a:srgbClr val="FFFFFF"/>
                </a:solidFill>
              </a:rPr>
              <a:t>waleskacrowe@gmail.com</a:t>
            </a:r>
          </a:p>
        </p:txBody>
      </p:sp>
    </p:spTree>
    <p:extLst>
      <p:ext uri="{BB962C8B-B14F-4D97-AF65-F5344CB8AC3E}">
        <p14:creationId xmlns:p14="http://schemas.microsoft.com/office/powerpoint/2010/main" val="4111990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ECC59A6-D09B-427B-A803-E30B8A04EEDE}"/>
              </a:ext>
            </a:extLst>
          </p:cNvPr>
          <p:cNvSpPr/>
          <p:nvPr/>
        </p:nvSpPr>
        <p:spPr>
          <a:xfrm>
            <a:off x="2235200" y="621170"/>
            <a:ext cx="942848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800" b="1" i="1" dirty="0">
                <a:solidFill>
                  <a:srgbClr val="2A56A6"/>
                </a:solidFill>
              </a:rPr>
              <a:t>Join the WASH Rotary Action Group and </a:t>
            </a:r>
          </a:p>
          <a:p>
            <a:r>
              <a:rPr lang="en-US" sz="4800" b="1" i="1" dirty="0">
                <a:solidFill>
                  <a:srgbClr val="2A56A6"/>
                </a:solidFill>
              </a:rPr>
              <a:t>MAKE A DIFFEREN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8375717-AFA4-4F19-9F96-E3B04E2F1207}"/>
              </a:ext>
            </a:extLst>
          </p:cNvPr>
          <p:cNvSpPr txBox="1"/>
          <p:nvPr/>
        </p:nvSpPr>
        <p:spPr>
          <a:xfrm>
            <a:off x="5961077" y="3666898"/>
            <a:ext cx="55678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i="1" dirty="0">
                <a:solidFill>
                  <a:srgbClr val="00B2C0"/>
                </a:solidFill>
              </a:rPr>
              <a:t> </a:t>
            </a:r>
            <a:r>
              <a:rPr lang="en-US" sz="3600" b="1" i="1" dirty="0">
                <a:solidFill>
                  <a:srgbClr val="00B2C0"/>
                </a:solidFill>
              </a:rPr>
              <a:t>WASH-RAG.or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85BC24-E855-4A85-90A2-5C46F5D448D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9046" y="5139470"/>
            <a:ext cx="3789181" cy="88300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E6F628C-6183-7848-BD2A-B0F24874388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104413"/>
            <a:ext cx="3789180" cy="4847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541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8D01ED7-3BAA-4032-BB04-FBC862F6F5A3}"/>
              </a:ext>
            </a:extLst>
          </p:cNvPr>
          <p:cNvSpPr txBox="1">
            <a:spLocks/>
          </p:cNvSpPr>
          <p:nvPr/>
        </p:nvSpPr>
        <p:spPr>
          <a:xfrm>
            <a:off x="1239520" y="644651"/>
            <a:ext cx="9712960" cy="101155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chemeClr val="accent1"/>
                </a:solidFill>
                <a:latin typeface="+mn-lt"/>
              </a:rPr>
              <a:t>Water and Sanitation for Health Facility Improvement Too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809BD1-52EB-462E-94EC-777C2FCC4F2B}"/>
              </a:ext>
            </a:extLst>
          </p:cNvPr>
          <p:cNvSpPr txBox="1">
            <a:spLocks/>
          </p:cNvSpPr>
          <p:nvPr/>
        </p:nvSpPr>
        <p:spPr>
          <a:xfrm>
            <a:off x="2433306" y="1656206"/>
            <a:ext cx="7840277" cy="408358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endParaRPr lang="en-US" sz="2400" dirty="0"/>
          </a:p>
        </p:txBody>
      </p:sp>
      <p:pic>
        <p:nvPicPr>
          <p:cNvPr id="2" name="Content Placeholder 4">
            <a:extLst>
              <a:ext uri="{FF2B5EF4-FFF2-40B4-BE49-F238E27FC236}">
                <a16:creationId xmlns:a16="http://schemas.microsoft.com/office/drawing/2014/main" id="{EE2C4402-0206-7F1B-4C76-7EC1401CE5A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1120" y="1239035"/>
            <a:ext cx="4429760" cy="4668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371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8D01ED7-3BAA-4032-BB04-FBC862F6F5A3}"/>
              </a:ext>
            </a:extLst>
          </p:cNvPr>
          <p:cNvSpPr txBox="1">
            <a:spLocks/>
          </p:cNvSpPr>
          <p:nvPr/>
        </p:nvSpPr>
        <p:spPr>
          <a:xfrm>
            <a:off x="1239520" y="644651"/>
            <a:ext cx="9712960" cy="101155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>
                <a:solidFill>
                  <a:schemeClr val="accent1"/>
                </a:solidFill>
                <a:latin typeface="+mn-lt"/>
              </a:rPr>
              <a:t>WASH FIT</a:t>
            </a:r>
            <a:endParaRPr lang="en-US" sz="36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809BD1-52EB-462E-94EC-777C2FCC4F2B}"/>
              </a:ext>
            </a:extLst>
          </p:cNvPr>
          <p:cNvSpPr txBox="1">
            <a:spLocks/>
          </p:cNvSpPr>
          <p:nvPr/>
        </p:nvSpPr>
        <p:spPr>
          <a:xfrm>
            <a:off x="2433306" y="1656206"/>
            <a:ext cx="7840277" cy="408358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endParaRPr lang="en-US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61F27B-7BCB-DACA-4312-AFDF01EA86A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6602" y="679262"/>
            <a:ext cx="6778518" cy="4857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536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8D01ED7-3BAA-4032-BB04-FBC862F6F5A3}"/>
              </a:ext>
            </a:extLst>
          </p:cNvPr>
          <p:cNvSpPr txBox="1">
            <a:spLocks/>
          </p:cNvSpPr>
          <p:nvPr/>
        </p:nvSpPr>
        <p:spPr>
          <a:xfrm>
            <a:off x="1239520" y="644651"/>
            <a:ext cx="9712960" cy="101155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>
                <a:solidFill>
                  <a:schemeClr val="accent1"/>
                </a:solidFill>
                <a:latin typeface="+mn-lt"/>
              </a:rPr>
              <a:t>WASH FIT</a:t>
            </a:r>
            <a:endParaRPr lang="en-US" sz="36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809BD1-52EB-462E-94EC-777C2FCC4F2B}"/>
              </a:ext>
            </a:extLst>
          </p:cNvPr>
          <p:cNvSpPr txBox="1">
            <a:spLocks/>
          </p:cNvSpPr>
          <p:nvPr/>
        </p:nvSpPr>
        <p:spPr>
          <a:xfrm>
            <a:off x="2433306" y="1656206"/>
            <a:ext cx="7840277" cy="408358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endParaRPr lang="en-US" sz="24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B9EC25-4E1A-5308-8685-069338921BF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24960" y="300836"/>
            <a:ext cx="6705600" cy="4806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375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8D01ED7-3BAA-4032-BB04-FBC862F6F5A3}"/>
              </a:ext>
            </a:extLst>
          </p:cNvPr>
          <p:cNvSpPr txBox="1">
            <a:spLocks/>
          </p:cNvSpPr>
          <p:nvPr/>
        </p:nvSpPr>
        <p:spPr>
          <a:xfrm>
            <a:off x="1239520" y="644651"/>
            <a:ext cx="9712960" cy="101155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>
                <a:solidFill>
                  <a:schemeClr val="accent1"/>
                </a:solidFill>
                <a:latin typeface="+mn-lt"/>
              </a:rPr>
              <a:t>WASH FIT</a:t>
            </a:r>
            <a:endParaRPr lang="en-US" sz="36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809BD1-52EB-462E-94EC-777C2FCC4F2B}"/>
              </a:ext>
            </a:extLst>
          </p:cNvPr>
          <p:cNvSpPr txBox="1">
            <a:spLocks/>
          </p:cNvSpPr>
          <p:nvPr/>
        </p:nvSpPr>
        <p:spPr>
          <a:xfrm>
            <a:off x="2433306" y="1656206"/>
            <a:ext cx="7840277" cy="408358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endParaRPr lang="en-US" sz="2400" dirty="0"/>
          </a:p>
        </p:txBody>
      </p:sp>
      <p:pic>
        <p:nvPicPr>
          <p:cNvPr id="2" name="Content Placeholder 4">
            <a:extLst>
              <a:ext uri="{FF2B5EF4-FFF2-40B4-BE49-F238E27FC236}">
                <a16:creationId xmlns:a16="http://schemas.microsoft.com/office/drawing/2014/main" id="{D998A86A-76FF-0355-C27D-87D32895F12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59840" y="1349356"/>
            <a:ext cx="9744378" cy="467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991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8D01ED7-3BAA-4032-BB04-FBC862F6F5A3}"/>
              </a:ext>
            </a:extLst>
          </p:cNvPr>
          <p:cNvSpPr txBox="1">
            <a:spLocks/>
          </p:cNvSpPr>
          <p:nvPr/>
        </p:nvSpPr>
        <p:spPr>
          <a:xfrm>
            <a:off x="1239520" y="644651"/>
            <a:ext cx="9712960" cy="101155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>
                <a:solidFill>
                  <a:schemeClr val="accent1"/>
                </a:solidFill>
                <a:latin typeface="+mn-lt"/>
              </a:rPr>
              <a:t>WASH FIT</a:t>
            </a:r>
            <a:endParaRPr lang="en-US" sz="36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809BD1-52EB-462E-94EC-777C2FCC4F2B}"/>
              </a:ext>
            </a:extLst>
          </p:cNvPr>
          <p:cNvSpPr txBox="1">
            <a:spLocks/>
          </p:cNvSpPr>
          <p:nvPr/>
        </p:nvSpPr>
        <p:spPr>
          <a:xfrm>
            <a:off x="2433306" y="1656206"/>
            <a:ext cx="7840277" cy="408358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endParaRPr lang="en-US" sz="2400" dirty="0"/>
          </a:p>
        </p:txBody>
      </p:sp>
      <p:pic>
        <p:nvPicPr>
          <p:cNvPr id="2" name="Content Placeholder 4">
            <a:extLst>
              <a:ext uri="{FF2B5EF4-FFF2-40B4-BE49-F238E27FC236}">
                <a16:creationId xmlns:a16="http://schemas.microsoft.com/office/drawing/2014/main" id="{3125782A-DE7F-8DA1-9E20-8B9FB6A5027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5270" y="1656205"/>
            <a:ext cx="10308370" cy="3406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558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8D01ED7-3BAA-4032-BB04-FBC862F6F5A3}"/>
              </a:ext>
            </a:extLst>
          </p:cNvPr>
          <p:cNvSpPr txBox="1">
            <a:spLocks/>
          </p:cNvSpPr>
          <p:nvPr/>
        </p:nvSpPr>
        <p:spPr>
          <a:xfrm>
            <a:off x="1239520" y="644651"/>
            <a:ext cx="9712960" cy="101155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accent1"/>
                </a:solidFill>
                <a:latin typeface="+mn-lt"/>
              </a:rPr>
              <a:t>WASH FI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809BD1-52EB-462E-94EC-777C2FCC4F2B}"/>
              </a:ext>
            </a:extLst>
          </p:cNvPr>
          <p:cNvSpPr txBox="1">
            <a:spLocks/>
          </p:cNvSpPr>
          <p:nvPr/>
        </p:nvSpPr>
        <p:spPr>
          <a:xfrm>
            <a:off x="2433306" y="1656206"/>
            <a:ext cx="7840277" cy="408358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endParaRPr lang="en-US" sz="24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55CA43-E503-06DE-D5B0-91B475F851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>
                <a:solidFill>
                  <a:schemeClr val="accent5"/>
                </a:solidFill>
              </a:rPr>
              <a:t>Philippines WASH FIT scoring system for action planning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E7384E2-FFEC-395D-6AF1-40B260A85C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b="0" dirty="0">
                <a:solidFill>
                  <a:schemeClr val="accent5"/>
                </a:solidFill>
              </a:rPr>
              <a:t>Scoring system by code color used in Guatemala</a:t>
            </a:r>
          </a:p>
        </p:txBody>
      </p:sp>
      <p:pic>
        <p:nvPicPr>
          <p:cNvPr id="10" name="Content Placeholder 4">
            <a:extLst>
              <a:ext uri="{FF2B5EF4-FFF2-40B4-BE49-F238E27FC236}">
                <a16:creationId xmlns:a16="http://schemas.microsoft.com/office/drawing/2014/main" id="{29885932-A2CD-404D-2BF1-8491B5C68289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788" y="3119120"/>
            <a:ext cx="5202934" cy="2341766"/>
          </a:xfrm>
        </p:spPr>
      </p:pic>
      <p:pic>
        <p:nvPicPr>
          <p:cNvPr id="11" name="Content Placeholder 4">
            <a:extLst>
              <a:ext uri="{FF2B5EF4-FFF2-40B4-BE49-F238E27FC236}">
                <a16:creationId xmlns:a16="http://schemas.microsoft.com/office/drawing/2014/main" id="{9B5C99F0-F538-D47F-C892-944CF291DAE2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2200" y="3257325"/>
            <a:ext cx="5183188" cy="2180087"/>
          </a:xfrm>
        </p:spPr>
      </p:pic>
    </p:spTree>
    <p:extLst>
      <p:ext uri="{BB962C8B-B14F-4D97-AF65-F5344CB8AC3E}">
        <p14:creationId xmlns:p14="http://schemas.microsoft.com/office/powerpoint/2010/main" val="2335453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8D01ED7-3BAA-4032-BB04-FBC862F6F5A3}"/>
              </a:ext>
            </a:extLst>
          </p:cNvPr>
          <p:cNvSpPr txBox="1">
            <a:spLocks/>
          </p:cNvSpPr>
          <p:nvPr/>
        </p:nvSpPr>
        <p:spPr>
          <a:xfrm>
            <a:off x="1239520" y="644651"/>
            <a:ext cx="9712960" cy="101155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>
                <a:solidFill>
                  <a:schemeClr val="accent1"/>
                </a:solidFill>
                <a:latin typeface="+mn-lt"/>
              </a:rPr>
              <a:t>WASH FIT</a:t>
            </a:r>
            <a:endParaRPr lang="en-US" sz="36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809BD1-52EB-462E-94EC-777C2FCC4F2B}"/>
              </a:ext>
            </a:extLst>
          </p:cNvPr>
          <p:cNvSpPr txBox="1">
            <a:spLocks/>
          </p:cNvSpPr>
          <p:nvPr/>
        </p:nvSpPr>
        <p:spPr>
          <a:xfrm>
            <a:off x="2433306" y="1656206"/>
            <a:ext cx="7840277" cy="408358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endParaRPr lang="en-US"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9BDEAF6-EACD-A59A-7168-DEF688747315}"/>
              </a:ext>
            </a:extLst>
          </p:cNvPr>
          <p:cNvSpPr txBox="1"/>
          <p:nvPr/>
        </p:nvSpPr>
        <p:spPr>
          <a:xfrm>
            <a:off x="1239520" y="1373277"/>
            <a:ext cx="333248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accent5"/>
                </a:solidFill>
              </a:rPr>
              <a:t>Complimentary Software tools</a:t>
            </a:r>
          </a:p>
          <a:p>
            <a:pPr marL="0" indent="0">
              <a:buNone/>
            </a:pPr>
            <a:endParaRPr lang="en-US" b="1" dirty="0"/>
          </a:p>
          <a:p>
            <a:r>
              <a:rPr lang="en-US" dirty="0"/>
              <a:t>KOBO Toolbox</a:t>
            </a:r>
          </a:p>
          <a:p>
            <a:r>
              <a:rPr lang="en-US" dirty="0"/>
              <a:t>Excel</a:t>
            </a:r>
          </a:p>
          <a:p>
            <a:r>
              <a:rPr lang="en-US" dirty="0" err="1"/>
              <a:t>mWater</a:t>
            </a:r>
            <a:endParaRPr lang="en-US" dirty="0"/>
          </a:p>
          <a:p>
            <a:r>
              <a:rPr lang="en-US" dirty="0"/>
              <a:t>Power BI              </a:t>
            </a:r>
          </a:p>
        </p:txBody>
      </p:sp>
      <p:pic>
        <p:nvPicPr>
          <p:cNvPr id="6" name="Content Placeholder 8">
            <a:extLst>
              <a:ext uri="{FF2B5EF4-FFF2-40B4-BE49-F238E27FC236}">
                <a16:creationId xmlns:a16="http://schemas.microsoft.com/office/drawing/2014/main" id="{4013607A-A499-DE7A-C3AD-1CF0B52D3DA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18584" y="1991360"/>
            <a:ext cx="7345630" cy="327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906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8D01ED7-3BAA-4032-BB04-FBC862F6F5A3}"/>
              </a:ext>
            </a:extLst>
          </p:cNvPr>
          <p:cNvSpPr txBox="1">
            <a:spLocks/>
          </p:cNvSpPr>
          <p:nvPr/>
        </p:nvSpPr>
        <p:spPr>
          <a:xfrm>
            <a:off x="1239520" y="644651"/>
            <a:ext cx="9712960" cy="101155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accent1"/>
                </a:solidFill>
                <a:latin typeface="+mn-lt"/>
              </a:rPr>
              <a:t>Hand Hygiene 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809BD1-52EB-462E-94EC-777C2FCC4F2B}"/>
              </a:ext>
            </a:extLst>
          </p:cNvPr>
          <p:cNvSpPr txBox="1">
            <a:spLocks/>
          </p:cNvSpPr>
          <p:nvPr/>
        </p:nvSpPr>
        <p:spPr>
          <a:xfrm>
            <a:off x="2433306" y="1656206"/>
            <a:ext cx="7840277" cy="408358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endParaRPr lang="en-US" sz="24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B8CF68A-F8D2-2EFD-B873-C2ABB5E0C2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nd Hygiene Self-Assessment Framework </a:t>
            </a:r>
          </a:p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B2B9AB-5612-758E-8AAC-3DE7293B18B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>
            <a:normAutofit fontScale="92500"/>
          </a:bodyPr>
          <a:lstStyle/>
          <a:p>
            <a:r>
              <a:rPr lang="en-US" sz="2400" dirty="0">
                <a:solidFill>
                  <a:schemeClr val="accent5"/>
                </a:solidFill>
              </a:rPr>
              <a:t>The WHO 5 moments of Hand Hygiene for Health Care Workers</a:t>
            </a:r>
            <a:endParaRPr lang="en-US" dirty="0">
              <a:solidFill>
                <a:schemeClr val="accent5"/>
              </a:solidFill>
            </a:endParaRPr>
          </a:p>
          <a:p>
            <a:endParaRPr lang="en-US" dirty="0"/>
          </a:p>
        </p:txBody>
      </p:sp>
      <p:pic>
        <p:nvPicPr>
          <p:cNvPr id="11" name="Content Placeholder 12">
            <a:extLst>
              <a:ext uri="{FF2B5EF4-FFF2-40B4-BE49-F238E27FC236}">
                <a16:creationId xmlns:a16="http://schemas.microsoft.com/office/drawing/2014/main" id="{B2EF4930-D6C8-40C5-77A2-E171D0AF1D4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51275" y="2505075"/>
            <a:ext cx="4334813" cy="3684588"/>
          </a:xfrm>
        </p:spPr>
      </p:pic>
      <p:pic>
        <p:nvPicPr>
          <p:cNvPr id="12" name="Content Placeholder 8">
            <a:extLst>
              <a:ext uri="{FF2B5EF4-FFF2-40B4-BE49-F238E27FC236}">
                <a16:creationId xmlns:a16="http://schemas.microsoft.com/office/drawing/2014/main" id="{6DED3F7E-33DD-431D-3DAB-9AE8554302F6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46784" y="2505075"/>
            <a:ext cx="4634020" cy="3684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8355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ZgnlGkkZMBbx55kzjc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DgAlKtvuNdJzESLgzP1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4</TotalTime>
  <Words>245</Words>
  <Application>Microsoft Office PowerPoint</Application>
  <PresentationFormat>Widescreen</PresentationFormat>
  <Paragraphs>62</Paragraphs>
  <Slides>12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Calibri Light</vt:lpstr>
      <vt:lpstr>Wingdings</vt:lpstr>
      <vt:lpstr>Office Theme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et’s use the tools!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ols and Resources for WASH in HCF</dc:title>
  <dc:creator>Waleska Crowe</dc:creator>
  <cp:lastModifiedBy>Michael Brown</cp:lastModifiedBy>
  <cp:revision>3</cp:revision>
  <dcterms:created xsi:type="dcterms:W3CDTF">2023-06-12T16:12:20Z</dcterms:created>
  <dcterms:modified xsi:type="dcterms:W3CDTF">2023-06-13T18:51:10Z</dcterms:modified>
</cp:coreProperties>
</file>